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2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3.xml" ContentType="application/vnd.openxmlformats-officedocument.them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4.xml" ContentType="application/vnd.openxmlformats-officedocument.them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251" r:id="rId1"/>
    <p:sldMasterId id="2147485319" r:id="rId2"/>
    <p:sldMasterId id="2147485386" r:id="rId3"/>
    <p:sldMasterId id="2147485451" r:id="rId4"/>
  </p:sldMasterIdLst>
  <p:notesMasterIdLst>
    <p:notesMasterId r:id="rId26"/>
  </p:notesMasterIdLst>
  <p:handoutMasterIdLst>
    <p:handoutMasterId r:id="rId27"/>
  </p:handoutMasterIdLst>
  <p:sldIdLst>
    <p:sldId id="256" r:id="rId5"/>
    <p:sldId id="302" r:id="rId6"/>
    <p:sldId id="303" r:id="rId7"/>
    <p:sldId id="304" r:id="rId8"/>
    <p:sldId id="290" r:id="rId9"/>
    <p:sldId id="292" r:id="rId10"/>
    <p:sldId id="291" r:id="rId11"/>
    <p:sldId id="293" r:id="rId12"/>
    <p:sldId id="294" r:id="rId13"/>
    <p:sldId id="295" r:id="rId14"/>
    <p:sldId id="296" r:id="rId15"/>
    <p:sldId id="297" r:id="rId16"/>
    <p:sldId id="298" r:id="rId17"/>
    <p:sldId id="300" r:id="rId18"/>
    <p:sldId id="307" r:id="rId19"/>
    <p:sldId id="306" r:id="rId20"/>
    <p:sldId id="305" r:id="rId21"/>
    <p:sldId id="299" r:id="rId22"/>
    <p:sldId id="301" r:id="rId23"/>
    <p:sldId id="285" r:id="rId24"/>
    <p:sldId id="260" r:id="rId25"/>
  </p:sldIdLst>
  <p:sldSz cx="15119350" cy="10691813"/>
  <p:notesSz cx="6797675" cy="9872663"/>
  <p:custShowLst>
    <p:custShow name="Format Guide Workshop" id="0">
      <p:sldLst/>
    </p:custShow>
  </p:custShowLst>
  <p:custDataLst>
    <p:tags r:id="rId28"/>
  </p:custDataLst>
  <p:defaultTextStyle>
    <a:defPPr>
      <a:defRPr lang="en-US"/>
    </a:defPPr>
    <a:lvl1pPr marL="0" algn="l" defTabSz="1407810" rtl="0" eaLnBrk="1" latinLnBrk="0" hangingPunct="1">
      <a:defRPr sz="2771" kern="1200">
        <a:solidFill>
          <a:schemeClr val="tx1"/>
        </a:solidFill>
        <a:latin typeface="+mn-lt"/>
        <a:ea typeface="+mn-ea"/>
        <a:cs typeface="+mn-cs"/>
      </a:defRPr>
    </a:lvl1pPr>
    <a:lvl2pPr marL="703905" algn="l" defTabSz="1407810" rtl="0" eaLnBrk="1" latinLnBrk="0" hangingPunct="1">
      <a:defRPr sz="2771" kern="1200">
        <a:solidFill>
          <a:schemeClr val="tx1"/>
        </a:solidFill>
        <a:latin typeface="+mn-lt"/>
        <a:ea typeface="+mn-ea"/>
        <a:cs typeface="+mn-cs"/>
      </a:defRPr>
    </a:lvl2pPr>
    <a:lvl3pPr marL="1407810" algn="l" defTabSz="1407810" rtl="0" eaLnBrk="1" latinLnBrk="0" hangingPunct="1">
      <a:defRPr sz="2771" kern="1200">
        <a:solidFill>
          <a:schemeClr val="tx1"/>
        </a:solidFill>
        <a:latin typeface="+mn-lt"/>
        <a:ea typeface="+mn-ea"/>
        <a:cs typeface="+mn-cs"/>
      </a:defRPr>
    </a:lvl3pPr>
    <a:lvl4pPr marL="2111715" algn="l" defTabSz="1407810" rtl="0" eaLnBrk="1" latinLnBrk="0" hangingPunct="1">
      <a:defRPr sz="2771" kern="1200">
        <a:solidFill>
          <a:schemeClr val="tx1"/>
        </a:solidFill>
        <a:latin typeface="+mn-lt"/>
        <a:ea typeface="+mn-ea"/>
        <a:cs typeface="+mn-cs"/>
      </a:defRPr>
    </a:lvl4pPr>
    <a:lvl5pPr marL="2815620" algn="l" defTabSz="1407810" rtl="0" eaLnBrk="1" latinLnBrk="0" hangingPunct="1">
      <a:defRPr sz="2771" kern="1200">
        <a:solidFill>
          <a:schemeClr val="tx1"/>
        </a:solidFill>
        <a:latin typeface="+mn-lt"/>
        <a:ea typeface="+mn-ea"/>
        <a:cs typeface="+mn-cs"/>
      </a:defRPr>
    </a:lvl5pPr>
    <a:lvl6pPr marL="3519526" algn="l" defTabSz="1407810" rtl="0" eaLnBrk="1" latinLnBrk="0" hangingPunct="1">
      <a:defRPr sz="2771" kern="1200">
        <a:solidFill>
          <a:schemeClr val="tx1"/>
        </a:solidFill>
        <a:latin typeface="+mn-lt"/>
        <a:ea typeface="+mn-ea"/>
        <a:cs typeface="+mn-cs"/>
      </a:defRPr>
    </a:lvl6pPr>
    <a:lvl7pPr marL="4223431" algn="l" defTabSz="1407810" rtl="0" eaLnBrk="1" latinLnBrk="0" hangingPunct="1">
      <a:defRPr sz="2771" kern="1200">
        <a:solidFill>
          <a:schemeClr val="tx1"/>
        </a:solidFill>
        <a:latin typeface="+mn-lt"/>
        <a:ea typeface="+mn-ea"/>
        <a:cs typeface="+mn-cs"/>
      </a:defRPr>
    </a:lvl7pPr>
    <a:lvl8pPr marL="4927336" algn="l" defTabSz="1407810" rtl="0" eaLnBrk="1" latinLnBrk="0" hangingPunct="1">
      <a:defRPr sz="2771" kern="1200">
        <a:solidFill>
          <a:schemeClr val="tx1"/>
        </a:solidFill>
        <a:latin typeface="+mn-lt"/>
        <a:ea typeface="+mn-ea"/>
        <a:cs typeface="+mn-cs"/>
      </a:defRPr>
    </a:lvl8pPr>
    <a:lvl9pPr marL="5631241" algn="l" defTabSz="1407810" rtl="0" eaLnBrk="1" latinLnBrk="0" hangingPunct="1">
      <a:defRPr sz="277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068" userDrawn="1">
          <p15:clr>
            <a:srgbClr val="A4A3A4"/>
          </p15:clr>
        </p15:guide>
        <p15:guide id="2" pos="4762" userDrawn="1">
          <p15:clr>
            <a:srgbClr val="A4A3A4"/>
          </p15:clr>
        </p15:guide>
        <p15:guide id="3" orient="horz" pos="38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Бугряшева Елена Николаевна" initials="БЕН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7BE"/>
    <a:srgbClr val="34A290"/>
    <a:srgbClr val="339A84"/>
    <a:srgbClr val="EFF9FF"/>
    <a:srgbClr val="E5FFFF"/>
    <a:srgbClr val="67BD4A"/>
    <a:srgbClr val="A5639D"/>
    <a:srgbClr val="848484"/>
    <a:srgbClr val="9A9A9A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57" autoAdjust="0"/>
    <p:restoredTop sz="95503" autoAdjust="0"/>
  </p:normalViewPr>
  <p:slideViewPr>
    <p:cSldViewPr snapToGrid="0">
      <p:cViewPr>
        <p:scale>
          <a:sx n="83" d="100"/>
          <a:sy n="83" d="100"/>
        </p:scale>
        <p:origin x="-1002" y="204"/>
      </p:cViewPr>
      <p:guideLst>
        <p:guide orient="horz" pos="5068"/>
        <p:guide orient="horz" pos="3844"/>
        <p:guide pos="47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156" y="72"/>
      </p:cViewPr>
      <p:guideLst/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6" y="3"/>
            <a:ext cx="2945658" cy="495348"/>
          </a:xfrm>
          <a:prstGeom prst="rect">
            <a:avLst/>
          </a:prstGeom>
        </p:spPr>
        <p:txBody>
          <a:bodyPr vert="horz" lIns="91759" tIns="45880" rIns="91759" bIns="45880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58" y="3"/>
            <a:ext cx="2945658" cy="495348"/>
          </a:xfrm>
          <a:prstGeom prst="rect">
            <a:avLst/>
          </a:prstGeom>
        </p:spPr>
        <p:txBody>
          <a:bodyPr vert="horz" lIns="91759" tIns="45880" rIns="91759" bIns="45880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1/16/2021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6" y="9377332"/>
            <a:ext cx="2945658" cy="495347"/>
          </a:xfrm>
          <a:prstGeom prst="rect">
            <a:avLst/>
          </a:prstGeom>
        </p:spPr>
        <p:txBody>
          <a:bodyPr vert="horz" lIns="91759" tIns="45880" rIns="91759" bIns="45880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58" y="9377332"/>
            <a:ext cx="2945658" cy="495347"/>
          </a:xfrm>
          <a:prstGeom prst="rect">
            <a:avLst/>
          </a:prstGeom>
        </p:spPr>
        <p:txBody>
          <a:bodyPr vert="horz" lIns="91759" tIns="45880" rIns="91759" bIns="45880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4" y="4714579"/>
            <a:ext cx="6796102" cy="51580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759" tIns="45880" rIns="91759" bIns="45880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0632" y="3"/>
            <a:ext cx="2865041" cy="495348"/>
          </a:xfrm>
          <a:prstGeom prst="rect">
            <a:avLst/>
          </a:prstGeom>
        </p:spPr>
        <p:txBody>
          <a:bodyPr vert="horz" lIns="91759" tIns="45880" rIns="91759" bIns="45880" rtlCol="0"/>
          <a:lstStyle>
            <a:lvl1pPr>
              <a:defRPr lang="en-US" sz="1400" dirty="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7" y="152"/>
            <a:ext cx="2866613" cy="495348"/>
          </a:xfrm>
          <a:prstGeom prst="rect">
            <a:avLst/>
          </a:prstGeom>
        </p:spPr>
        <p:txBody>
          <a:bodyPr vert="horz" lIns="90717" tIns="45357" rIns="90717" bIns="45357" rtlCol="0"/>
          <a:lstStyle>
            <a:lvl1pPr>
              <a:defRPr lang="en-US" sz="1200" smtClean="0"/>
            </a:lvl1pPr>
          </a:lstStyle>
          <a:p>
            <a:pPr algn="r"/>
            <a:fld id="{3AD9BDA7-98EF-4344-B91C-30A07E8A84B0}" type="datetimeFigureOut">
              <a:rPr lang="en-US" smtClean="0"/>
              <a:pPr algn="r"/>
              <a:t>11/16/2021</a:t>
            </a:fld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0632" y="9346787"/>
            <a:ext cx="2865041" cy="495347"/>
          </a:xfrm>
          <a:prstGeom prst="rect">
            <a:avLst/>
          </a:prstGeom>
        </p:spPr>
        <p:txBody>
          <a:bodyPr vert="horz" lIns="91759" tIns="45880" rIns="91759" bIns="45880" rtlCol="0" anchor="b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14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8" y="9346787"/>
            <a:ext cx="2855930" cy="495347"/>
          </a:xfrm>
          <a:prstGeom prst="rect">
            <a:avLst/>
          </a:prstGeom>
        </p:spPr>
        <p:txBody>
          <a:bodyPr vert="horz" lIns="91759" tIns="45880" rIns="91759" bIns="45880" rtlCol="0" anchor="b"/>
          <a:lstStyle>
            <a:lvl1pPr algn="r">
              <a:defRPr sz="14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3828" y="5039618"/>
            <a:ext cx="6272792" cy="4028719"/>
          </a:xfrm>
          <a:prstGeom prst="rect">
            <a:avLst/>
          </a:prstGeom>
        </p:spPr>
        <p:txBody>
          <a:bodyPr vert="horz" lIns="91759" tIns="45880" rIns="91759" bIns="4588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 idx="2"/>
          </p:nvPr>
        </p:nvSpPr>
        <p:spPr>
          <a:xfrm>
            <a:off x="593725" y="614363"/>
            <a:ext cx="5608638" cy="3965575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1759" tIns="45880" rIns="91759" bIns="45880" rtlCol="0" anchor="ctr"/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1407810" rtl="0" eaLnBrk="1" latinLnBrk="0" hangingPunct="1">
      <a:spcAft>
        <a:spcPts val="924"/>
      </a:spcAft>
      <a:buFont typeface="Arial" panose="020B0604020202020204" pitchFamily="34" charset="0"/>
      <a:buChar char="​"/>
      <a:defRPr lang="en-US" sz="1848" kern="1200">
        <a:solidFill>
          <a:schemeClr val="tx1"/>
        </a:solidFill>
        <a:latin typeface="+mn-lt"/>
        <a:ea typeface="+mn-ea"/>
        <a:cs typeface="+mn-cs"/>
      </a:defRPr>
    </a:lvl1pPr>
    <a:lvl2pPr marL="175976" indent="-175976" algn="l" defTabSz="1407810" rtl="0" eaLnBrk="1" latinLnBrk="0" hangingPunct="1">
      <a:spcAft>
        <a:spcPts val="924"/>
      </a:spcAft>
      <a:buFont typeface="Arial" panose="020B0604020202020204" pitchFamily="34" charset="0"/>
      <a:buChar char="•"/>
      <a:defRPr sz="1848" kern="1200">
        <a:solidFill>
          <a:schemeClr val="tx1"/>
        </a:solidFill>
        <a:latin typeface="+mn-lt"/>
        <a:ea typeface="+mn-ea"/>
        <a:cs typeface="+mn-cs"/>
      </a:defRPr>
    </a:lvl2pPr>
    <a:lvl3pPr marL="351953" indent="-175976" algn="l" defTabSz="1407810" rtl="0" eaLnBrk="1" latinLnBrk="0" hangingPunct="1">
      <a:spcAft>
        <a:spcPts val="924"/>
      </a:spcAft>
      <a:buClr>
        <a:schemeClr val="tx2"/>
      </a:buClr>
      <a:buFont typeface="Arial" panose="020B0604020202020204" pitchFamily="34" charset="0"/>
      <a:buChar char="•"/>
      <a:defRPr sz="1848" kern="1200">
        <a:solidFill>
          <a:schemeClr val="tx1"/>
        </a:solidFill>
        <a:latin typeface="+mn-lt"/>
        <a:ea typeface="+mn-ea"/>
        <a:cs typeface="+mn-cs"/>
      </a:defRPr>
    </a:lvl3pPr>
    <a:lvl4pPr marL="791893" indent="-175976" algn="l" defTabSz="1407810" rtl="0" eaLnBrk="1" latinLnBrk="0" hangingPunct="1">
      <a:spcAft>
        <a:spcPts val="924"/>
      </a:spcAft>
      <a:buFont typeface="Arial" panose="020B0604020202020204" pitchFamily="34" charset="0"/>
      <a:buChar char="•"/>
      <a:defRPr sz="1540" kern="1200">
        <a:solidFill>
          <a:schemeClr val="tx1"/>
        </a:solidFill>
        <a:latin typeface="+mn-lt"/>
        <a:ea typeface="+mn-ea"/>
        <a:cs typeface="+mn-cs"/>
      </a:defRPr>
    </a:lvl4pPr>
    <a:lvl5pPr marL="1055858" indent="-175976" algn="l" defTabSz="1407810" rtl="0" eaLnBrk="1" latinLnBrk="0" hangingPunct="1">
      <a:spcAft>
        <a:spcPts val="924"/>
      </a:spcAft>
      <a:buClr>
        <a:schemeClr val="tx2"/>
      </a:buClr>
      <a:buFont typeface="Arial" panose="020B0604020202020204" pitchFamily="34" charset="0"/>
      <a:buChar char="•"/>
      <a:defRPr sz="1540" i="1" kern="1200">
        <a:solidFill>
          <a:schemeClr val="tx1"/>
        </a:solidFill>
        <a:latin typeface="+mn-lt"/>
        <a:ea typeface="+mn-ea"/>
        <a:cs typeface="+mn-cs"/>
      </a:defRPr>
    </a:lvl5pPr>
    <a:lvl6pPr marL="3519526" algn="l" defTabSz="1407810" rtl="0" eaLnBrk="1" latinLnBrk="0" hangingPunct="1">
      <a:defRPr sz="1848" kern="1200">
        <a:solidFill>
          <a:schemeClr val="tx1"/>
        </a:solidFill>
        <a:latin typeface="+mn-lt"/>
        <a:ea typeface="+mn-ea"/>
        <a:cs typeface="+mn-cs"/>
      </a:defRPr>
    </a:lvl6pPr>
    <a:lvl7pPr marL="4223431" algn="l" defTabSz="1407810" rtl="0" eaLnBrk="1" latinLnBrk="0" hangingPunct="1">
      <a:defRPr sz="1848" kern="1200">
        <a:solidFill>
          <a:schemeClr val="tx1"/>
        </a:solidFill>
        <a:latin typeface="+mn-lt"/>
        <a:ea typeface="+mn-ea"/>
        <a:cs typeface="+mn-cs"/>
      </a:defRPr>
    </a:lvl7pPr>
    <a:lvl8pPr marL="4927336" algn="l" defTabSz="1407810" rtl="0" eaLnBrk="1" latinLnBrk="0" hangingPunct="1">
      <a:defRPr sz="1848" kern="1200">
        <a:solidFill>
          <a:schemeClr val="tx1"/>
        </a:solidFill>
        <a:latin typeface="+mn-lt"/>
        <a:ea typeface="+mn-ea"/>
        <a:cs typeface="+mn-cs"/>
      </a:defRPr>
    </a:lvl8pPr>
    <a:lvl9pPr marL="5631241" algn="l" defTabSz="1407810" rtl="0" eaLnBrk="1" latinLnBrk="0" hangingPunct="1">
      <a:defRPr sz="1848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 xmlns="">
        <p15:guide id="1" orient="horz" pos="3111" userDrawn="1">
          <p15:clr>
            <a:srgbClr val="F26B43"/>
          </p15:clr>
        </p15:guide>
        <p15:guide id="2" pos="2142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918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2276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7480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1009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675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8380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094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8106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1146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4327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2425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718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7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image" Target="../media/image9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11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9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9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7.xml"/><Relationship Id="rId7" Type="http://schemas.openxmlformats.org/officeDocument/2006/relationships/oleObject" Target="../embeddings/oleObject67.bin"/><Relationship Id="rId2" Type="http://schemas.openxmlformats.org/officeDocument/2006/relationships/tags" Target="../tags/tag136.xml"/><Relationship Id="rId1" Type="http://schemas.openxmlformats.org/officeDocument/2006/relationships/vmlDrawing" Target="../drawings/vmlDrawing6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9.xml"/><Relationship Id="rId4" Type="http://schemas.openxmlformats.org/officeDocument/2006/relationships/tags" Target="../tags/tag138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1.emf"/><Relationship Id="rId2" Type="http://schemas.openxmlformats.org/officeDocument/2006/relationships/tags" Target="../tags/tag140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1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8.xml"/><Relationship Id="rId7" Type="http://schemas.openxmlformats.org/officeDocument/2006/relationships/oleObject" Target="../embeddings/oleObject71.bin"/><Relationship Id="rId2" Type="http://schemas.openxmlformats.org/officeDocument/2006/relationships/tags" Target="../tags/tag147.xml"/><Relationship Id="rId1" Type="http://schemas.openxmlformats.org/officeDocument/2006/relationships/vmlDrawing" Target="../drawings/vmlDrawing7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50.xml"/><Relationship Id="rId4" Type="http://schemas.openxmlformats.org/officeDocument/2006/relationships/tags" Target="../tags/tag149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1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1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62.xml"/><Relationship Id="rId7" Type="http://schemas.openxmlformats.org/officeDocument/2006/relationships/image" Target="../media/image20.jpeg"/><Relationship Id="rId2" Type="http://schemas.openxmlformats.org/officeDocument/2006/relationships/tags" Target="../tags/tag16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10" Type="http://schemas.openxmlformats.org/officeDocument/2006/relationships/image" Target="../media/image22.jpeg"/><Relationship Id="rId4" Type="http://schemas.openxmlformats.org/officeDocument/2006/relationships/slideMaster" Target="../slideMasters/slideMaster3.xml"/><Relationship Id="rId9" Type="http://schemas.openxmlformats.org/officeDocument/2006/relationships/image" Target="NUL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19.jpeg"/><Relationship Id="rId2" Type="http://schemas.openxmlformats.org/officeDocument/2006/relationships/tags" Target="../tags/tag167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70.xml"/><Relationship Id="rId7" Type="http://schemas.openxmlformats.org/officeDocument/2006/relationships/image" Target="../media/image7.png"/><Relationship Id="rId2" Type="http://schemas.openxmlformats.org/officeDocument/2006/relationships/tags" Target="../tags/tag169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72.xml"/><Relationship Id="rId7" Type="http://schemas.openxmlformats.org/officeDocument/2006/relationships/image" Target="../media/image7.png"/><Relationship Id="rId2" Type="http://schemas.openxmlformats.org/officeDocument/2006/relationships/tags" Target="../tags/tag171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1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74.xml"/><Relationship Id="rId7" Type="http://schemas.openxmlformats.org/officeDocument/2006/relationships/image" Target="../media/image9.png"/><Relationship Id="rId2" Type="http://schemas.openxmlformats.org/officeDocument/2006/relationships/tags" Target="../tags/tag17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76.xml"/><Relationship Id="rId7" Type="http://schemas.openxmlformats.org/officeDocument/2006/relationships/image" Target="../media/image11.png"/><Relationship Id="rId2" Type="http://schemas.openxmlformats.org/officeDocument/2006/relationships/tags" Target="../tags/tag17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78.xml"/><Relationship Id="rId7" Type="http://schemas.openxmlformats.org/officeDocument/2006/relationships/image" Target="../media/image9.png"/><Relationship Id="rId2" Type="http://schemas.openxmlformats.org/officeDocument/2006/relationships/tags" Target="../tags/tag177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80.xml"/><Relationship Id="rId7" Type="http://schemas.openxmlformats.org/officeDocument/2006/relationships/image" Target="../media/image18.png"/><Relationship Id="rId2" Type="http://schemas.openxmlformats.org/officeDocument/2006/relationships/tags" Target="../tags/tag179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82.xml"/><Relationship Id="rId7" Type="http://schemas.openxmlformats.org/officeDocument/2006/relationships/image" Target="../media/image9.png"/><Relationship Id="rId2" Type="http://schemas.openxmlformats.org/officeDocument/2006/relationships/tags" Target="../tags/tag181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84.xml"/><Relationship Id="rId7" Type="http://schemas.openxmlformats.org/officeDocument/2006/relationships/image" Target="../media/image18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19.jpeg"/><Relationship Id="rId2" Type="http://schemas.openxmlformats.org/officeDocument/2006/relationships/tags" Target="../tags/tag187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2.jpeg"/><Relationship Id="rId2" Type="http://schemas.openxmlformats.org/officeDocument/2006/relationships/tags" Target="../tags/tag189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20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1.bin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19.jpeg"/><Relationship Id="rId2" Type="http://schemas.openxmlformats.org/officeDocument/2006/relationships/tags" Target="../tags/tag1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97.xml"/><Relationship Id="rId7" Type="http://schemas.openxmlformats.org/officeDocument/2006/relationships/image" Target="../media/image7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99.xml"/><Relationship Id="rId7" Type="http://schemas.openxmlformats.org/officeDocument/2006/relationships/image" Target="../media/image7.png"/><Relationship Id="rId2" Type="http://schemas.openxmlformats.org/officeDocument/2006/relationships/tags" Target="../tags/tag198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201.xml"/><Relationship Id="rId7" Type="http://schemas.openxmlformats.org/officeDocument/2006/relationships/image" Target="../media/image7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203.xml"/><Relationship Id="rId7" Type="http://schemas.openxmlformats.org/officeDocument/2006/relationships/image" Target="../media/image9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205.xml"/><Relationship Id="rId7" Type="http://schemas.openxmlformats.org/officeDocument/2006/relationships/image" Target="../media/image11.png"/><Relationship Id="rId2" Type="http://schemas.openxmlformats.org/officeDocument/2006/relationships/tags" Target="../tags/tag204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207.xml"/><Relationship Id="rId7" Type="http://schemas.openxmlformats.org/officeDocument/2006/relationships/image" Target="../media/image9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209.xml"/><Relationship Id="rId7" Type="http://schemas.openxmlformats.org/officeDocument/2006/relationships/image" Target="../media/image9.png"/><Relationship Id="rId2" Type="http://schemas.openxmlformats.org/officeDocument/2006/relationships/tags" Target="../tags/tag208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3.xml"/><Relationship Id="rId7" Type="http://schemas.openxmlformats.org/officeDocument/2006/relationships/oleObject" Target="../embeddings/oleObject103.bin"/><Relationship Id="rId2" Type="http://schemas.openxmlformats.org/officeDocument/2006/relationships/tags" Target="../tags/tag212.xml"/><Relationship Id="rId1" Type="http://schemas.openxmlformats.org/officeDocument/2006/relationships/vmlDrawing" Target="../drawings/vmlDrawing103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15.xml"/><Relationship Id="rId4" Type="http://schemas.openxmlformats.org/officeDocument/2006/relationships/tags" Target="../tags/tag21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1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104.vml"/><Relationship Id="rId6" Type="http://schemas.openxmlformats.org/officeDocument/2006/relationships/oleObject" Target="../embeddings/oleObject10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18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1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105.vml"/><Relationship Id="rId6" Type="http://schemas.openxmlformats.org/officeDocument/2006/relationships/oleObject" Target="../embeddings/oleObject10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1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24.xml"/><Relationship Id="rId7" Type="http://schemas.openxmlformats.org/officeDocument/2006/relationships/oleObject" Target="../embeddings/oleObject107.bin"/><Relationship Id="rId2" Type="http://schemas.openxmlformats.org/officeDocument/2006/relationships/tags" Target="../tags/tag223.xml"/><Relationship Id="rId1" Type="http://schemas.openxmlformats.org/officeDocument/2006/relationships/vmlDrawing" Target="../drawings/vmlDrawing10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6.xml"/><Relationship Id="rId4" Type="http://schemas.openxmlformats.org/officeDocument/2006/relationships/tags" Target="../tags/tag225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108.vml"/><Relationship Id="rId6" Type="http://schemas.openxmlformats.org/officeDocument/2006/relationships/oleObject" Target="../embeddings/oleObject10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7" Type="http://schemas.openxmlformats.org/officeDocument/2006/relationships/image" Target="../media/image1.emf"/><Relationship Id="rId2" Type="http://schemas.openxmlformats.org/officeDocument/2006/relationships/tags" Target="../tags/tag230.xml"/><Relationship Id="rId1" Type="http://schemas.openxmlformats.org/officeDocument/2006/relationships/vmlDrawing" Target="../drawings/vmlDrawing109.vml"/><Relationship Id="rId6" Type="http://schemas.openxmlformats.org/officeDocument/2006/relationships/oleObject" Target="../embeddings/oleObject10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2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93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238.xml"/><Relationship Id="rId7" Type="http://schemas.openxmlformats.org/officeDocument/2006/relationships/image" Target="../media/image3.jpeg"/><Relationship Id="rId2" Type="http://schemas.openxmlformats.org/officeDocument/2006/relationships/tags" Target="../tags/tag237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4.png"/></Relationships>
</file>

<file path=ppt/slideLayouts/_rels/slideLayout194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240.xml"/><Relationship Id="rId7" Type="http://schemas.openxmlformats.org/officeDocument/2006/relationships/image" Target="../media/image3.jpeg"/><Relationship Id="rId2" Type="http://schemas.openxmlformats.org/officeDocument/2006/relationships/tags" Target="../tags/tag239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245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7" Type="http://schemas.openxmlformats.org/officeDocument/2006/relationships/image" Target="../media/image7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7" Type="http://schemas.openxmlformats.org/officeDocument/2006/relationships/image" Target="../media/image7.png"/><Relationship Id="rId2" Type="http://schemas.openxmlformats.org/officeDocument/2006/relationships/tags" Target="../tags/tag24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7" Type="http://schemas.openxmlformats.org/officeDocument/2006/relationships/image" Target="../media/image7.png"/><Relationship Id="rId2" Type="http://schemas.openxmlformats.org/officeDocument/2006/relationships/tags" Target="../tags/tag25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7" Type="http://schemas.openxmlformats.org/officeDocument/2006/relationships/image" Target="../media/image9.png"/><Relationship Id="rId2" Type="http://schemas.openxmlformats.org/officeDocument/2006/relationships/tags" Target="../tags/tag253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11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7" Type="http://schemas.openxmlformats.org/officeDocument/2006/relationships/image" Target="../media/image9.png"/><Relationship Id="rId2" Type="http://schemas.openxmlformats.org/officeDocument/2006/relationships/tags" Target="../tags/tag257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7" Type="http://schemas.openxmlformats.org/officeDocument/2006/relationships/image" Target="../media/image13.png"/><Relationship Id="rId2" Type="http://schemas.openxmlformats.org/officeDocument/2006/relationships/tags" Target="../tags/tag259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image" Target="../media/image9.png"/><Relationship Id="rId2" Type="http://schemas.openxmlformats.org/officeDocument/2006/relationships/tags" Target="../tags/tag261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image" Target="../media/image13.png"/><Relationship Id="rId2" Type="http://schemas.openxmlformats.org/officeDocument/2006/relationships/tags" Target="../tags/tag263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2" Type="http://schemas.openxmlformats.org/officeDocument/2006/relationships/tags" Target="../tags/tag267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4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26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1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9.bin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4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27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1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0.bin"/><Relationship Id="rId9" Type="http://schemas.openxmlformats.org/officeDocument/2006/relationships/image" Target="../media/image16.jpe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271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276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3.bin"/><Relationship Id="rId4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tags" Target="../tags/tag278.xml"/><Relationship Id="rId7" Type="http://schemas.openxmlformats.org/officeDocument/2006/relationships/image" Target="../media/image7.png"/><Relationship Id="rId2" Type="http://schemas.openxmlformats.org/officeDocument/2006/relationships/tags" Target="../tags/tag277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4.bin"/><Relationship Id="rId4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7" Type="http://schemas.openxmlformats.org/officeDocument/2006/relationships/image" Target="../media/image7.png"/><Relationship Id="rId2" Type="http://schemas.openxmlformats.org/officeDocument/2006/relationships/tags" Target="../tags/tag279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7" Type="http://schemas.openxmlformats.org/officeDocument/2006/relationships/image" Target="../media/image7.png"/><Relationship Id="rId2" Type="http://schemas.openxmlformats.org/officeDocument/2006/relationships/tags" Target="../tags/tag281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tags" Target="../tags/tag284.xml"/><Relationship Id="rId7" Type="http://schemas.openxmlformats.org/officeDocument/2006/relationships/image" Target="../media/image9.png"/><Relationship Id="rId2" Type="http://schemas.openxmlformats.org/officeDocument/2006/relationships/tags" Target="../tags/tag283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7.bin"/><Relationship Id="rId4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286.xml"/><Relationship Id="rId7" Type="http://schemas.openxmlformats.org/officeDocument/2006/relationships/image" Target="../media/image11.png"/><Relationship Id="rId2" Type="http://schemas.openxmlformats.org/officeDocument/2006/relationships/tags" Target="../tags/tag285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8.bin"/><Relationship Id="rId4" Type="http://schemas.openxmlformats.org/officeDocument/2006/relationships/slideMaster" Target="../slideMasters/slideMaster4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288.xml"/><Relationship Id="rId7" Type="http://schemas.openxmlformats.org/officeDocument/2006/relationships/image" Target="../media/image9.png"/><Relationship Id="rId2" Type="http://schemas.openxmlformats.org/officeDocument/2006/relationships/tags" Target="../tags/tag287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290.xml"/><Relationship Id="rId7" Type="http://schemas.openxmlformats.org/officeDocument/2006/relationships/image" Target="../media/image9.png"/><Relationship Id="rId2" Type="http://schemas.openxmlformats.org/officeDocument/2006/relationships/tags" Target="../tags/tag289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0.bin"/><Relationship Id="rId4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292.xml"/><Relationship Id="rId2" Type="http://schemas.openxmlformats.org/officeDocument/2006/relationships/tags" Target="../tags/tag291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4.xml"/><Relationship Id="rId7" Type="http://schemas.openxmlformats.org/officeDocument/2006/relationships/oleObject" Target="../embeddings/oleObject142.bin"/><Relationship Id="rId2" Type="http://schemas.openxmlformats.org/officeDocument/2006/relationships/tags" Target="../tags/tag293.xml"/><Relationship Id="rId1" Type="http://schemas.openxmlformats.org/officeDocument/2006/relationships/vmlDrawing" Target="../drawings/vmlDrawing142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96.xml"/><Relationship Id="rId4" Type="http://schemas.openxmlformats.org/officeDocument/2006/relationships/tags" Target="../tags/tag295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7" Type="http://schemas.openxmlformats.org/officeDocument/2006/relationships/image" Target="../media/image1.emf"/><Relationship Id="rId2" Type="http://schemas.openxmlformats.org/officeDocument/2006/relationships/tags" Target="../tags/tag297.xml"/><Relationship Id="rId1" Type="http://schemas.openxmlformats.org/officeDocument/2006/relationships/vmlDrawing" Target="../drawings/vmlDrawing143.vml"/><Relationship Id="rId6" Type="http://schemas.openxmlformats.org/officeDocument/2006/relationships/oleObject" Target="../embeddings/oleObject14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9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7" Type="http://schemas.openxmlformats.org/officeDocument/2006/relationships/image" Target="../media/image1.emf"/><Relationship Id="rId2" Type="http://schemas.openxmlformats.org/officeDocument/2006/relationships/tags" Target="../tags/tag300.xml"/><Relationship Id="rId1" Type="http://schemas.openxmlformats.org/officeDocument/2006/relationships/vmlDrawing" Target="../drawings/vmlDrawing144.vml"/><Relationship Id="rId6" Type="http://schemas.openxmlformats.org/officeDocument/2006/relationships/oleObject" Target="../embeddings/oleObject14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02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5.xml"/><Relationship Id="rId7" Type="http://schemas.openxmlformats.org/officeDocument/2006/relationships/oleObject" Target="../embeddings/oleObject146.bin"/><Relationship Id="rId2" Type="http://schemas.openxmlformats.org/officeDocument/2006/relationships/tags" Target="../tags/tag304.xml"/><Relationship Id="rId1" Type="http://schemas.openxmlformats.org/officeDocument/2006/relationships/vmlDrawing" Target="../drawings/vmlDrawing146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07.xml"/><Relationship Id="rId4" Type="http://schemas.openxmlformats.org/officeDocument/2006/relationships/tags" Target="../tags/tag30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7" Type="http://schemas.openxmlformats.org/officeDocument/2006/relationships/image" Target="../media/image1.emf"/><Relationship Id="rId2" Type="http://schemas.openxmlformats.org/officeDocument/2006/relationships/tags" Target="../tags/tag308.xml"/><Relationship Id="rId1" Type="http://schemas.openxmlformats.org/officeDocument/2006/relationships/vmlDrawing" Target="../drawings/vmlDrawing147.vml"/><Relationship Id="rId6" Type="http://schemas.openxmlformats.org/officeDocument/2006/relationships/oleObject" Target="../embeddings/oleObject14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10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7" Type="http://schemas.openxmlformats.org/officeDocument/2006/relationships/image" Target="../media/image1.emf"/><Relationship Id="rId2" Type="http://schemas.openxmlformats.org/officeDocument/2006/relationships/tags" Target="../tags/tag311.xml"/><Relationship Id="rId1" Type="http://schemas.openxmlformats.org/officeDocument/2006/relationships/vmlDrawing" Target="../drawings/vmlDrawing148.vml"/><Relationship Id="rId6" Type="http://schemas.openxmlformats.org/officeDocument/2006/relationships/oleObject" Target="../embeddings/oleObject14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13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Master" Target="../slideMasters/slideMaster1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6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7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7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7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9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1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9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9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.xml"/><Relationship Id="rId7" Type="http://schemas.openxmlformats.org/officeDocument/2006/relationships/oleObject" Target="../embeddings/oleObject31.bin"/><Relationship Id="rId2" Type="http://schemas.openxmlformats.org/officeDocument/2006/relationships/tags" Target="../tags/tag60.xml"/><Relationship Id="rId1" Type="http://schemas.openxmlformats.org/officeDocument/2006/relationships/vmlDrawing" Target="../drawings/vmlDrawing3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2.xml"/><Relationship Id="rId7" Type="http://schemas.openxmlformats.org/officeDocument/2006/relationships/oleObject" Target="../embeddings/oleObject35.bin"/><Relationship Id="rId2" Type="http://schemas.openxmlformats.org/officeDocument/2006/relationships/tags" Target="../tags/tag71.xml"/><Relationship Id="rId1" Type="http://schemas.openxmlformats.org/officeDocument/2006/relationships/vmlDrawing" Target="../drawings/vmlDrawing3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4.xml"/><Relationship Id="rId4" Type="http://schemas.openxmlformats.org/officeDocument/2006/relationships/tags" Target="../tags/tag7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7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7.png"/><Relationship Id="rId2" Type="http://schemas.openxmlformats.org/officeDocument/2006/relationships/tags" Target="../tags/tag9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7.png"/><Relationship Id="rId2" Type="http://schemas.openxmlformats.org/officeDocument/2006/relationships/tags" Target="../tags/tag9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9.png"/><Relationship Id="rId2" Type="http://schemas.openxmlformats.org/officeDocument/2006/relationships/tags" Target="../tags/tag9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1.png"/><Relationship Id="rId2" Type="http://schemas.openxmlformats.org/officeDocument/2006/relationships/tags" Target="../tags/tag9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9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18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9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18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7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7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2593460"/>
              </p:ext>
            </p:ext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884" b="1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8B8F3CEA-B622-4CEE-B1CE-3916DECC9EF7}"/>
              </a:ext>
            </a:extLst>
          </p:cNvPr>
          <p:cNvSpPr/>
          <p:nvPr userDrawn="1"/>
        </p:nvSpPr>
        <p:spPr>
          <a:xfrm>
            <a:off x="0" y="0"/>
            <a:ext cx="15119350" cy="10691813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pic>
        <p:nvPicPr>
          <p:cNvPr id="14" name="Picture 13" descr="A picture containing blue&#10;&#10;Description automatically generated">
            <a:extLst>
              <a:ext uri="{FF2B5EF4-FFF2-40B4-BE49-F238E27FC236}">
                <a16:creationId xmlns="" xmlns:a16="http://schemas.microsoft.com/office/drawing/2014/main" id="{2C6C4F34-2E5C-4F88-82D1-D5EBA8C9EC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63"/>
          <a:stretch>
            <a:fillRect/>
          </a:stretch>
        </p:blipFill>
        <p:spPr>
          <a:xfrm>
            <a:off x="4875144" y="-1"/>
            <a:ext cx="10244207" cy="10691796"/>
          </a:xfrm>
          <a:custGeom>
            <a:avLst/>
            <a:gdLst>
              <a:gd name="connsiteX0" fmla="*/ 2097992 w 10244207"/>
              <a:gd name="connsiteY0" fmla="*/ 0 h 10691796"/>
              <a:gd name="connsiteX1" fmla="*/ 10244207 w 10244207"/>
              <a:gd name="connsiteY1" fmla="*/ 0 h 10691796"/>
              <a:gd name="connsiteX2" fmla="*/ 10244207 w 10244207"/>
              <a:gd name="connsiteY2" fmla="*/ 10691796 h 10691796"/>
              <a:gd name="connsiteX3" fmla="*/ 1827803 w 10244207"/>
              <a:gd name="connsiteY3" fmla="*/ 10691796 h 10691796"/>
              <a:gd name="connsiteX4" fmla="*/ 1644651 w 10244207"/>
              <a:gd name="connsiteY4" fmla="*/ 10458733 h 10691796"/>
              <a:gd name="connsiteX5" fmla="*/ 0 w 10244207"/>
              <a:gd name="connsiteY5" fmla="*/ 5505553 h 10691796"/>
              <a:gd name="connsiteX6" fmla="*/ 1890414 w 10244207"/>
              <a:gd name="connsiteY6" fmla="*/ 239636 h 10691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44207" h="10691796">
                <a:moveTo>
                  <a:pt x="2097992" y="0"/>
                </a:moveTo>
                <a:lnTo>
                  <a:pt x="10244207" y="0"/>
                </a:lnTo>
                <a:lnTo>
                  <a:pt x="10244207" y="10691796"/>
                </a:lnTo>
                <a:lnTo>
                  <a:pt x="1827803" y="10691796"/>
                </a:lnTo>
                <a:lnTo>
                  <a:pt x="1644651" y="10458733"/>
                </a:lnTo>
                <a:cubicBezTo>
                  <a:pt x="611705" y="9077520"/>
                  <a:pt x="0" y="7362973"/>
                  <a:pt x="0" y="5505553"/>
                </a:cubicBezTo>
                <a:cubicBezTo>
                  <a:pt x="0" y="3505256"/>
                  <a:pt x="709433" y="1670655"/>
                  <a:pt x="1890414" y="239636"/>
                </a:cubicBezTo>
                <a:close/>
              </a:path>
            </a:pathLst>
          </a:custGeom>
        </p:spPr>
      </p:pic>
      <p:sp>
        <p:nvSpPr>
          <p:cNvPr id="16" name="Freeform: Shape 15">
            <a:extLst>
              <a:ext uri="{FF2B5EF4-FFF2-40B4-BE49-F238E27FC236}">
                <a16:creationId xmlns="" xmlns:a16="http://schemas.microsoft.com/office/drawing/2014/main" id="{A4B8A7A7-BAE6-4F9E-A1F1-D3826D22B7E2}"/>
              </a:ext>
            </a:extLst>
          </p:cNvPr>
          <p:cNvSpPr/>
          <p:nvPr userDrawn="1"/>
        </p:nvSpPr>
        <p:spPr>
          <a:xfrm>
            <a:off x="0" y="0"/>
            <a:ext cx="8514436" cy="10691813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9528D4DA-5E9B-430B-A0DA-C5897F60E0DC}"/>
              </a:ext>
            </a:extLst>
          </p:cNvPr>
          <p:cNvCxnSpPr/>
          <p:nvPr userDrawn="1"/>
        </p:nvCxnSpPr>
        <p:spPr>
          <a:xfrm>
            <a:off x="960639" y="8010842"/>
            <a:ext cx="2238827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60639" y="8448318"/>
            <a:ext cx="6380969" cy="438947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2747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348912" indent="0" algn="ctr">
              <a:buNone/>
              <a:defRPr/>
            </a:lvl4pPr>
            <a:lvl5pPr marL="697824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60639" y="6859426"/>
            <a:ext cx="6380967" cy="71395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4884" b="1" baseline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93812" name="Picture 276" descr="Заказ выписок ЕГРН из Росреестра.">
            <a:extLst>
              <a:ext uri="{FF2B5EF4-FFF2-40B4-BE49-F238E27FC236}">
                <a16:creationId xmlns="" xmlns:a16="http://schemas.microsoft.com/office/drawing/2014/main" id="{48EA4FD4-1A07-40DB-A91B-E8E0786871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639" y="969162"/>
            <a:ext cx="969761" cy="1467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14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B2F95115-8B57-4F88-8964-CA3AE86C74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833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E20BE0D-CC3D-4E97-82BD-3AC2C48A27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7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892839" y="0"/>
            <a:ext cx="636385" cy="10691813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529224" y="-2040"/>
            <a:ext cx="10590127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43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0C77578-97C6-4148-91B9-EF51C7DEE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E0C77578-97C6-4148-91B9-EF51C7DEE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8D10392-52A3-49EB-A52C-33391550D8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11112134" y="0"/>
            <a:ext cx="637375" cy="10691813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0" y="0"/>
            <a:ext cx="1112152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2077165" y="10034724"/>
            <a:ext cx="1576955" cy="19082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8" y="970965"/>
            <a:ext cx="9808838" cy="3434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002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91479" y="0"/>
            <a:ext cx="636384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5129531" y="-2040"/>
            <a:ext cx="9989820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179914"/>
            <a:ext cx="3774800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7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605F884-7C8D-4015-B178-8199282936B5}"/>
              </a:ext>
            </a:extLst>
          </p:cNvPr>
          <p:cNvSpPr/>
          <p:nvPr userDrawn="1"/>
        </p:nvSpPr>
        <p:spPr>
          <a:xfrm>
            <a:off x="13388869" y="285935"/>
            <a:ext cx="1237518" cy="1526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92" dirty="0">
                <a:solidFill>
                  <a:srgbClr val="C8C8C8"/>
                </a:solidFill>
              </a:rPr>
              <a:t>КОНФИДЕНЦИАЛЬНО</a:t>
            </a:r>
            <a:endParaRPr lang="en-US" sz="992" dirty="0">
              <a:solidFill>
                <a:srgbClr val="C8C8C8"/>
              </a:solidFill>
            </a:endParaRPr>
          </a:p>
        </p:txBody>
      </p:sp>
      <p:sp>
        <p:nvSpPr>
          <p:cNvPr id="9" name="Page">
            <a:extLst>
              <a:ext uri="{FF2B5EF4-FFF2-40B4-BE49-F238E27FC236}">
                <a16:creationId xmlns="" xmlns:a16="http://schemas.microsoft.com/office/drawing/2014/main" id="{0D50AEA8-AAE4-3B41-9F65-1FA316176A19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075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935364" y="0"/>
            <a:ext cx="63737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7559675" y="0"/>
            <a:ext cx="7559675" cy="10691813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558760" y="0"/>
            <a:ext cx="7560590" cy="1069181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23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7" y="2783800"/>
            <a:ext cx="5296810" cy="5124213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96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  <p:sp>
        <p:nvSpPr>
          <p:cNvPr id="9" name="Page">
            <a:extLst>
              <a:ext uri="{FF2B5EF4-FFF2-40B4-BE49-F238E27FC236}">
                <a16:creationId xmlns="" xmlns:a16="http://schemas.microsoft.com/office/drawing/2014/main" id="{026D04D0-FFDB-F341-8B75-B053CA23148A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373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9015911" y="0"/>
            <a:ext cx="636384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9641219" y="0"/>
            <a:ext cx="5478132" cy="10691813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9643050" y="0"/>
            <a:ext cx="5476300" cy="10691813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223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961559" y="2783800"/>
            <a:ext cx="754960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96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  <p:sp>
        <p:nvSpPr>
          <p:cNvPr id="9" name="Page">
            <a:extLst>
              <a:ext uri="{FF2B5EF4-FFF2-40B4-BE49-F238E27FC236}">
                <a16:creationId xmlns="" xmlns:a16="http://schemas.microsoft.com/office/drawing/2014/main" id="{BAA545EC-330C-D04B-A116-2AAB1DE723DD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786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FDD86A1-0D80-4D5D-9955-947D5C604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6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CFDD86A1-0D80-4D5D-9955-947D5C604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B014008-40B7-444A-B787-756535FCC5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961558" y="4321386"/>
            <a:ext cx="3027533" cy="20490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7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06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321386"/>
            <a:ext cx="3027533" cy="2049047"/>
          </a:xfrm>
        </p:spPr>
        <p:txBody>
          <a:bodyPr anchor="ctr" anchorCtr="0">
            <a:noAutofit/>
          </a:bodyPr>
          <a:lstStyle>
            <a:lvl1pPr>
              <a:defRPr sz="3472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4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206981" y="5305106"/>
            <a:ext cx="4112820" cy="5396957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85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7E35D50-D996-444A-8FD0-7DBE027B6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8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C7E35D50-D996-444A-8FD0-7DBE027B6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ABC10EC-028B-4409-BC2E-3975D53D2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6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92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961559" y="2783800"/>
            <a:ext cx="490669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968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344" y="5291954"/>
            <a:ext cx="1981992" cy="5568653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26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961559" y="2783800"/>
            <a:ext cx="490669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968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985537" y="5326107"/>
            <a:ext cx="4112820" cy="5365706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  <p:sp>
        <p:nvSpPr>
          <p:cNvPr id="8" name="Page">
            <a:extLst>
              <a:ext uri="{FF2B5EF4-FFF2-40B4-BE49-F238E27FC236}">
                <a16:creationId xmlns="" xmlns:a16="http://schemas.microsoft.com/office/drawing/2014/main" id="{936952C2-B721-3C4A-BE1E-5CFA6669B280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23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42367645-74E2-459A-BE9A-64DF24D64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0"/>
            <a:ext cx="7968797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5642893" cy="3434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984" y="5596296"/>
            <a:ext cx="2083757" cy="527413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66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4" y="0"/>
            <a:ext cx="7968797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5642893" cy="3434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062924" y="5312862"/>
            <a:ext cx="4112820" cy="538885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  <p:sp>
        <p:nvSpPr>
          <p:cNvPr id="8" name="Page">
            <a:extLst>
              <a:ext uri="{FF2B5EF4-FFF2-40B4-BE49-F238E27FC236}">
                <a16:creationId xmlns="" xmlns:a16="http://schemas.microsoft.com/office/drawing/2014/main" id="{8C407F83-23F0-3D42-9E23-5566CDA24DF3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55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6935363" y="0"/>
            <a:ext cx="637375" cy="10691813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7559675" y="0"/>
            <a:ext cx="7559675" cy="1069181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558759" y="0"/>
            <a:ext cx="7560591" cy="1069181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747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21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961557" y="2783800"/>
            <a:ext cx="5294903" cy="5124213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88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2795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0123D111-C99F-4588-B064-E7EA60241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3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0123D111-C99F-4588-B064-E7EA60241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46B26778-A0D0-4E1F-B2D3-38247D6591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7552424" cy="3434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562" y="5596296"/>
            <a:ext cx="2083757" cy="527413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06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7552424" cy="3434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509008" y="5312862"/>
            <a:ext cx="4112820" cy="538885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  <p:sp>
        <p:nvSpPr>
          <p:cNvPr id="10" name="Page">
            <a:extLst>
              <a:ext uri="{FF2B5EF4-FFF2-40B4-BE49-F238E27FC236}">
                <a16:creationId xmlns="" xmlns:a16="http://schemas.microsoft.com/office/drawing/2014/main" id="{095D2537-7B51-4D45-8CAE-048352BB8F3C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74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5965360"/>
            <a:ext cx="13198067" cy="2504656"/>
          </a:xfrm>
        </p:spPr>
        <p:txBody>
          <a:bodyPr anchor="b">
            <a:noAutofit/>
          </a:bodyPr>
          <a:lstStyle>
            <a:lvl1pPr marL="0" algn="l" defTabSz="1133947" rtl="0" eaLnBrk="1" fontAlgn="auto" latinLnBrk="0" hangingPunct="1">
              <a:lnSpc>
                <a:spcPts val="7441"/>
              </a:lnSpc>
              <a:spcBef>
                <a:spcPts val="0"/>
              </a:spcBef>
              <a:spcAft>
                <a:spcPts val="0"/>
              </a:spcAft>
              <a:defRPr lang="en-US" sz="545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815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4C4DA86-0B4D-473B-A8D5-F01B0F7DF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5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4C4DA86-0B4D-473B-A8D5-F01B0F7DF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02ABC3C-A083-42EB-84D3-16BA28606C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5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5965360"/>
            <a:ext cx="13198067" cy="250465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133947" rtl="0" eaLnBrk="1" fontAlgn="auto" latinLnBrk="0" hangingPunct="1">
              <a:lnSpc>
                <a:spcPts val="7441"/>
              </a:lnSpc>
              <a:spcBef>
                <a:spcPts val="0"/>
              </a:spcBef>
              <a:spcAft>
                <a:spcPts val="0"/>
              </a:spcAft>
              <a:defRPr lang="en-US" sz="5456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961558" y="970962"/>
            <a:ext cx="1400695" cy="1431188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26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2"/>
            <a:ext cx="15119348" cy="9135724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23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232" dirty="0">
                <a:solidFill>
                  <a:schemeClr val="tx1"/>
                </a:solidFill>
                <a:latin typeface="+mn-lt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8563296" y="2102215"/>
            <a:ext cx="1199293" cy="11912816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72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13665110" y="10033733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7" cy="34349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37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White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944277" y="4455922"/>
            <a:ext cx="3395672" cy="17799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868"/>
              </a:spcAft>
              <a:buFontTx/>
              <a:buNone/>
            </a:pPr>
            <a:r>
              <a:rPr lang="en-US" sz="5456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62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08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753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15119350" cy="10691813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88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48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88" dirty="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88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240"/>
                </a:spcAft>
              </a:pPr>
              <a:endParaRPr lang="en-US" sz="148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230274"/>
              <a:ext cx="7283401" cy="33042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4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24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24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408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9D654D1C-C99D-423A-A91A-875BAA856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7145194"/>
              </p:ext>
            </p:ext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3FA805A-41AA-43DA-93B3-A21C8726BA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7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0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961559" y="4178507"/>
            <a:ext cx="3028601" cy="2334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74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age">
            <a:extLst>
              <a:ext uri="{FF2B5EF4-FFF2-40B4-BE49-F238E27FC236}">
                <a16:creationId xmlns="" xmlns:a16="http://schemas.microsoft.com/office/drawing/2014/main" id="{D322FDE0-8942-E245-BCAA-08AB4BBB73FC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65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8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10" y="10033733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698660" y="7097910"/>
            <a:ext cx="1329697" cy="136013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8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4247117" y="7097908"/>
            <a:ext cx="2005535" cy="204649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3931" tIns="22321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8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5"/>
            </p:custDataLst>
          </p:nvPr>
        </p:nvSpPr>
        <p:spPr>
          <a:xfrm>
            <a:off x="961558" y="1425576"/>
            <a:ext cx="5291093" cy="5447831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643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5456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99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0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10" y="10033733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351676" y="4159550"/>
            <a:ext cx="12416915" cy="4990489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85" tIns="340185" rIns="340185" bIns="170093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7441"/>
              </a:lnSpc>
            </a:pPr>
            <a:endParaRPr lang="en-US" sz="5456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1351678" y="2272754"/>
            <a:ext cx="1399837" cy="14311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80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101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10" y="10033733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959498" y="1880189"/>
            <a:ext cx="14159853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959497" y="970963"/>
            <a:ext cx="10973965" cy="7341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3472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13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91479" y="0"/>
            <a:ext cx="636384" cy="10691813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5129531" y="-2040"/>
            <a:ext cx="9989820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961558" y="4181313"/>
            <a:ext cx="3774800" cy="23348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744"/>
              </a:spcAft>
            </a:pPr>
            <a:r>
              <a:rPr lang="en-US" sz="3472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  <p:sp>
        <p:nvSpPr>
          <p:cNvPr id="9" name="Page">
            <a:extLst>
              <a:ext uri="{FF2B5EF4-FFF2-40B4-BE49-F238E27FC236}">
                <a16:creationId xmlns="" xmlns:a16="http://schemas.microsoft.com/office/drawing/2014/main" id="{D5E0AAC7-2653-7044-A948-8C5027918476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4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7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2698656" y="7097910"/>
            <a:ext cx="1329697" cy="136013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88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4247114" y="7097908"/>
            <a:ext cx="2005535" cy="204649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3931" tIns="22321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88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961554" y="1425576"/>
            <a:ext cx="5291093" cy="5447831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4643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5456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17297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1351673" y="4159550"/>
            <a:ext cx="12416915" cy="4990489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0185" tIns="340185" rIns="340185" bIns="170093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7441"/>
              </a:lnSpc>
            </a:pPr>
            <a:endParaRPr lang="en-US" sz="5456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1351673" y="2272754"/>
            <a:ext cx="1399837" cy="143118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88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184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959498" y="1880186"/>
            <a:ext cx="14159853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959497" y="970961"/>
            <a:ext cx="10973965" cy="7341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976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1505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91479" y="0"/>
            <a:ext cx="636384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5129531" y="-2040"/>
            <a:ext cx="9989820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961558" y="4181313"/>
            <a:ext cx="3774800" cy="23348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744"/>
              </a:spcAft>
            </a:pPr>
            <a:r>
              <a:rPr lang="en-US" sz="2976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  <p:sp>
        <p:nvSpPr>
          <p:cNvPr id="9" name="Page">
            <a:extLst>
              <a:ext uri="{FF2B5EF4-FFF2-40B4-BE49-F238E27FC236}">
                <a16:creationId xmlns="" xmlns:a16="http://schemas.microsoft.com/office/drawing/2014/main" id="{BCB95727-F5DE-C74A-8FC1-3B26B480D685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6023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944277" y="4455922"/>
            <a:ext cx="3395672" cy="17799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868"/>
              </a:spcAft>
              <a:buFontTx/>
              <a:buNone/>
            </a:pPr>
            <a:r>
              <a:rPr lang="en-US" sz="5456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54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C5690C-A273-47D1-BD6D-5226EDB75352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2128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-956603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961559" y="4178505"/>
            <a:ext cx="3028601" cy="2334800"/>
          </a:xfrm>
        </p:spPr>
        <p:txBody>
          <a:bodyPr anchor="ctr" anchorCtr="0">
            <a:noAutofit/>
          </a:bodyPr>
          <a:lstStyle>
            <a:lvl1pPr>
              <a:defRPr sz="4274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250378" y="5305104"/>
            <a:ext cx="4112820" cy="5396957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60130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742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010D471A-B55D-4B46-AF4A-4E0941B27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40509"/>
          <a:stretch/>
        </p:blipFill>
        <p:spPr>
          <a:xfrm>
            <a:off x="4048977" y="0"/>
            <a:ext cx="11070374" cy="10691796"/>
          </a:xfrm>
          <a:prstGeom prst="rect">
            <a:avLst/>
          </a:prstGeom>
        </p:spPr>
      </p:pic>
      <p:pic>
        <p:nvPicPr>
          <p:cNvPr id="17" name="Graphic 1">
            <a:extLst>
              <a:ext uri="{FF2B5EF4-FFF2-40B4-BE49-F238E27FC236}">
                <a16:creationId xmlns="" xmlns:a16="http://schemas.microsoft.com/office/drawing/2014/main" id="{5CC92D96-E9BB-41A0-8277-DF15E09E860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014430" y="4607672"/>
            <a:ext cx="365521" cy="568493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D4F1022C-A41F-4F64-A704-343E6666F2DE}"/>
              </a:ext>
            </a:extLst>
          </p:cNvPr>
          <p:cNvSpPr/>
          <p:nvPr userDrawn="1"/>
        </p:nvSpPr>
        <p:spPr>
          <a:xfrm>
            <a:off x="4996400" y="0"/>
            <a:ext cx="10122949" cy="10691813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6918" tIns="53459" rIns="106918" bIns="534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3" dirty="0">
              <a:solidFill>
                <a:srgbClr val="FFFFFF"/>
              </a:solidFill>
            </a:endParaRPr>
          </a:p>
        </p:txBody>
      </p:sp>
      <p:sp>
        <p:nvSpPr>
          <p:cNvPr id="19" name="Freeform: Shape 17">
            <a:extLst>
              <a:ext uri="{FF2B5EF4-FFF2-40B4-BE49-F238E27FC236}">
                <a16:creationId xmlns="" xmlns:a16="http://schemas.microsoft.com/office/drawing/2014/main" id="{04AA2C2B-E2E3-4DBA-8327-F6BEE1554F6A}"/>
              </a:ext>
            </a:extLst>
          </p:cNvPr>
          <p:cNvSpPr/>
          <p:nvPr userDrawn="1"/>
        </p:nvSpPr>
        <p:spPr>
          <a:xfrm flipV="1">
            <a:off x="2" y="0"/>
            <a:ext cx="8888848" cy="10691813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871" tIns="86871" rIns="86871" bIns="86871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331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20" name="Picture 2">
            <a:extLst>
              <a:ext uri="{FF2B5EF4-FFF2-40B4-BE49-F238E27FC236}">
                <a16:creationId xmlns="" xmlns:a16="http://schemas.microsoft.com/office/drawing/2014/main" id="{8005CD2E-A941-42D5-8451-899A510FD5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641" y="980083"/>
            <a:ext cx="3075122" cy="1277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Straight Connector 40">
            <a:extLst>
              <a:ext uri="{FF2B5EF4-FFF2-40B4-BE49-F238E27FC236}">
                <a16:creationId xmlns="" xmlns:a16="http://schemas.microsoft.com/office/drawing/2014/main" id="{9528D4DA-5E9B-430B-A0DA-C5897F60E0DC}"/>
              </a:ext>
            </a:extLst>
          </p:cNvPr>
          <p:cNvCxnSpPr/>
          <p:nvPr userDrawn="1"/>
        </p:nvCxnSpPr>
        <p:spPr>
          <a:xfrm>
            <a:off x="960639" y="8010842"/>
            <a:ext cx="2238827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60639" y="8448318"/>
            <a:ext cx="6380969" cy="356304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2105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67297" indent="0" algn="ctr">
              <a:buNone/>
              <a:defRPr/>
            </a:lvl4pPr>
            <a:lvl5pPr marL="534595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60640" y="7037850"/>
            <a:ext cx="6380967" cy="53552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3742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608009586"/>
      </p:ext>
    </p:extLst>
  </p:cSld>
  <p:clrMapOvr>
    <a:masterClrMapping/>
  </p:clrMapOvr>
  <p:transition spd="slow">
    <p:push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BD2686C-F4F7-4B49-9FA7-547747A55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1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4BD2686C-F4F7-4B49-9FA7-547747A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CBDCE76-2E58-4C33-B825-70B22AB66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6" cy="388650"/>
          </a:xfrm>
        </p:spPr>
        <p:txBody>
          <a:bodyPr/>
          <a:lstStyle>
            <a:lvl1pPr>
              <a:defRPr sz="280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39331181"/>
      </p:ext>
    </p:extLst>
  </p:cSld>
  <p:clrMapOvr>
    <a:masterClrMapping/>
  </p:clrMapOvr>
  <p:transition spd="slow">
    <p:push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7648504-9EE9-4917-8732-47ADDE1CE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7648504-9EE9-4917-8732-47ADDE1CE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5F3A929-EAE7-4D1B-9845-273796770D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6" cy="388650"/>
          </a:xfrm>
        </p:spPr>
        <p:txBody>
          <a:bodyPr/>
          <a:lstStyle>
            <a:lvl1pPr>
              <a:defRPr sz="280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0644" y="3251555"/>
            <a:ext cx="13198980" cy="6342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39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39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39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74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74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3953900"/>
      </p:ext>
    </p:extLst>
  </p:cSld>
  <p:clrMapOvr>
    <a:masterClrMapping/>
  </p:clrMapOvr>
  <p:transition spd="slow">
    <p:push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D607360-2403-48CB-B422-C21281360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6D607360-2403-48CB-B422-C21281360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071AEA3-A10A-4859-BC41-31E2E7B5E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74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3" y="3"/>
            <a:ext cx="5874158" cy="1069385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6918" tIns="53459" rIns="106918" bIns="5345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961557" y="2407565"/>
            <a:ext cx="4166137" cy="233198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74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814BD046-0164-4129-AC79-2FE24BB70F58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="" xmlns:a16="http://schemas.microsoft.com/office/drawing/2014/main" id="{CC4AD1D1-DDCE-4B0C-94FB-2127B4BC53AC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1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C348C755-2CB8-44E3-AE2B-D81C8EAD6CC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6150647"/>
      </p:ext>
    </p:extLst>
  </p:cSld>
  <p:clrMapOvr>
    <a:masterClrMapping/>
  </p:clrMapOvr>
  <p:transition spd="slow">
    <p:push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1351675" y="4159551"/>
            <a:ext cx="12416915" cy="4990488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1069190" rtl="0" eaLnBrk="1" fontAlgn="auto" latinLnBrk="0" hangingPunct="1">
              <a:lnSpc>
                <a:spcPts val="7016"/>
              </a:lnSpc>
              <a:spcBef>
                <a:spcPts val="0"/>
              </a:spcBef>
              <a:spcAft>
                <a:spcPts val="0"/>
              </a:spcAft>
              <a:defRPr lang="en-US" sz="5145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1351677" y="2272755"/>
            <a:ext cx="1399837" cy="14311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412460"/>
      </p:ext>
    </p:extLst>
  </p:cSld>
  <p:clrMapOvr>
    <a:masterClrMapping/>
  </p:clrMapOvr>
  <p:transition spd="slow">
    <p:push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7" y="5966088"/>
            <a:ext cx="13198066" cy="3182288"/>
          </a:xfrm>
        </p:spPr>
        <p:txBody>
          <a:bodyPr anchor="t">
            <a:noAutofit/>
          </a:bodyPr>
          <a:lstStyle>
            <a:lvl1pPr>
              <a:defRPr sz="514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961559" y="5737247"/>
            <a:ext cx="1415779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9506879"/>
      </p:ext>
    </p:extLst>
  </p:cSld>
  <p:clrMapOvr>
    <a:masterClrMapping/>
  </p:clrMapOvr>
  <p:transition spd="slow">
    <p:push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8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74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107019" y="0"/>
            <a:ext cx="637375" cy="10691813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2" y="0"/>
            <a:ext cx="5125016" cy="1069181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961560" y="4179914"/>
            <a:ext cx="3776213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74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FB484D01-35CB-4DD8-9399-654CA646029C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="" xmlns:a16="http://schemas.microsoft.com/office/drawing/2014/main" id="{0CB86129-04B2-47AF-A895-F96853608657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1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BD57E108-391C-4457-B941-53EFD9F9597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35719457"/>
      </p:ext>
    </p:extLst>
  </p:cSld>
  <p:clrMapOvr>
    <a:masterClrMapping/>
  </p:clrMapOvr>
  <p:transition spd="slow">
    <p:push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5C789F0D-C9AE-4DB8-AC61-09A2F9CD6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5C789F0D-C9AE-4DB8-AC61-09A2F9CD6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0835607-9670-40A0-9258-C63E2618CC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860946" y="0"/>
            <a:ext cx="637375" cy="10691813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2" y="0"/>
            <a:ext cx="8870336" cy="1069181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7552425" cy="388650"/>
          </a:xfrm>
          <a:prstGeom prst="rect">
            <a:avLst/>
          </a:prstGeom>
        </p:spPr>
        <p:txBody>
          <a:bodyPr/>
          <a:lstStyle>
            <a:lvl1pPr>
              <a:defRPr sz="280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7FF8DB46-6710-4D73-AD6C-161C6DAF8413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="" xmlns:a16="http://schemas.microsoft.com/office/drawing/2014/main" id="{2D644094-690E-4C34-9314-EEFB7A9C38D3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2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75F90D9F-D4F3-4218-AB5E-826ED1EAD20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64265082"/>
      </p:ext>
    </p:extLst>
  </p:cSld>
  <p:clrMapOvr>
    <a:masterClrMapping/>
  </p:clrMapOvr>
  <p:transition spd="slow">
    <p:push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91479" y="0"/>
            <a:ext cx="636385" cy="10691813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5129530" y="-2039"/>
            <a:ext cx="9989821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961559" y="4179914"/>
            <a:ext cx="3774800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7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FE973E77-9991-4B7B-9BC6-E4893D4F72CF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="" xmlns:a16="http://schemas.microsoft.com/office/drawing/2014/main" id="{A30AF32F-A059-4CD5-B107-D7AE6932D8BA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9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C0094358-CE11-47D8-BB7D-3AEE17424A1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29177699"/>
      </p:ext>
    </p:extLst>
  </p:cSld>
  <p:clrMapOvr>
    <a:masterClrMapping/>
  </p:clrMapOvr>
  <p:transition spd="slow">
    <p:push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935364" y="0"/>
            <a:ext cx="637375" cy="10691813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7559675" y="0"/>
            <a:ext cx="7559675" cy="1069181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558760" y="0"/>
            <a:ext cx="7560590" cy="1069181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10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35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961557" y="2783800"/>
            <a:ext cx="5294902" cy="5124213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74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DDEFB9EE-8A98-4486-82A7-EC52831C4F63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9" name="Rectangle: Rounded Corners 8">
              <a:extLst>
                <a:ext uri="{FF2B5EF4-FFF2-40B4-BE49-F238E27FC236}">
                  <a16:creationId xmlns="" xmlns:a16="http://schemas.microsoft.com/office/drawing/2014/main" id="{08CB1C84-F08D-44EA-BD2B-589FCD705955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5F00BBED-26F5-47DE-8935-25240A0FAF7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07872287"/>
      </p:ext>
    </p:extLst>
  </p:cSld>
  <p:clrMapOvr>
    <a:masterClrMapping/>
  </p:clrMapOvr>
  <p:transition spd="slow">
    <p:push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7E1E3A5-2541-4EE2-B1CD-3FA262A75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EEB5D7A0-FF97-4010-962F-980563A2C0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8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8" y="2783800"/>
            <a:ext cx="4903944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84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4343" y="5291952"/>
            <a:ext cx="1981992" cy="5568653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age">
            <a:extLst>
              <a:ext uri="{FF2B5EF4-FFF2-40B4-BE49-F238E27FC236}">
                <a16:creationId xmlns="" xmlns:a16="http://schemas.microsoft.com/office/drawing/2014/main" id="{AE1F6367-78D2-DB46-9E09-6B4872DC0098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558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9015911" y="0"/>
            <a:ext cx="636385" cy="10691813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9641220" y="0"/>
            <a:ext cx="5478132" cy="10691813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9643050" y="0"/>
            <a:ext cx="5476300" cy="10691813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2105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35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961558" y="2783800"/>
            <a:ext cx="7552055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74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C644CF37-A656-4369-B2D9-A19805499A1B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9" name="Rectangle: Rounded Corners 8">
              <a:extLst>
                <a:ext uri="{FF2B5EF4-FFF2-40B4-BE49-F238E27FC236}">
                  <a16:creationId xmlns="" xmlns:a16="http://schemas.microsoft.com/office/drawing/2014/main" id="{FA3769CD-4CA3-4320-8D0E-23D630BF74D8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73AEBE08-A0A4-495C-95D9-4F34FEE6B23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7721598"/>
      </p:ext>
    </p:extLst>
  </p:cSld>
  <p:clrMapOvr>
    <a:masterClrMapping/>
  </p:clrMapOvr>
  <p:transition spd="slow">
    <p:push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9D654D1C-C99D-423A-A91A-875BAA856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9D654D1C-C99D-423A-A91A-875BAA85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3FA805A-41AA-43DA-93B3-A21C8726BA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74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961560" y="4178507"/>
            <a:ext cx="3028601" cy="2334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74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87" y="5597533"/>
            <a:ext cx="2083756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0F631F99-7635-4244-9BE4-8DEC2E0A7427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="" xmlns:a16="http://schemas.microsoft.com/office/drawing/2014/main" id="{30D6D6F6-7CA8-4B21-BB12-9FCEB69218FB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3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9C1774CC-8612-4B5E-A8EC-29B86B4FC6B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23569861"/>
      </p:ext>
    </p:extLst>
  </p:cSld>
  <p:clrMapOvr>
    <a:masterClrMapping/>
  </p:clrMapOvr>
  <p:transition spd="slow">
    <p:push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961560" y="4178505"/>
            <a:ext cx="3028601" cy="2334800"/>
          </a:xfrm>
        </p:spPr>
        <p:txBody>
          <a:bodyPr anchor="ctr" anchorCtr="0">
            <a:noAutofit/>
          </a:bodyPr>
          <a:lstStyle>
            <a:lvl1pPr>
              <a:defRPr sz="3274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6" y="10045609"/>
            <a:ext cx="1576955" cy="17993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6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206981" y="5305106"/>
            <a:ext cx="4112821" cy="5396957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9CC86235-A5D3-41C0-972C-92D1B4FB274E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="" xmlns:a16="http://schemas.microsoft.com/office/drawing/2014/main" id="{42733816-BC23-46E7-A0FD-FC43106CE03F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1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4E07BCCD-F2B3-407C-8FB6-E500638328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19102181"/>
      </p:ext>
    </p:extLst>
  </p:cSld>
  <p:clrMapOvr>
    <a:masterClrMapping/>
  </p:clrMapOvr>
  <p:transition spd="slow">
    <p:push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7E1E3A5-2541-4EE2-B1CD-3FA262A75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37E1E3A5-2541-4EE2-B1CD-3FA262A75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EEB5D7A0-FF97-4010-962F-980563A2C0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742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0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35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7" y="2783800"/>
            <a:ext cx="4903945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742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344" y="5291954"/>
            <a:ext cx="1981991" cy="5568653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9F921693-9B1D-400A-9C74-5841FFB5D6C6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="" xmlns:a16="http://schemas.microsoft.com/office/drawing/2014/main" id="{A99D6517-5026-4B9B-BB6F-48A4A415D966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2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356F0CA4-1B05-4111-A5D2-1E76EE17DA5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98385730"/>
      </p:ext>
    </p:extLst>
  </p:cSld>
  <p:clrMapOvr>
    <a:masterClrMapping/>
  </p:clrMapOvr>
  <p:transition spd="slow">
    <p:push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0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7" y="2783800"/>
            <a:ext cx="4903945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742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6" y="10045609"/>
            <a:ext cx="1576955" cy="17993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6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985536" y="5326107"/>
            <a:ext cx="4112821" cy="5365706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FFF4C24C-1C14-4180-B118-16EA101C72F3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="" xmlns:a16="http://schemas.microsoft.com/office/drawing/2014/main" id="{B3D6EAAE-F8BD-4F7B-9849-4205F405C50A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2F139BE3-1E6D-4DE6-880E-74D3421358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46188244"/>
      </p:ext>
    </p:extLst>
  </p:cSld>
  <p:clrMapOvr>
    <a:masterClrMapping/>
  </p:clrMapOvr>
  <p:transition spd="slow">
    <p:push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2FA6E58-42C2-4A8B-A308-104370CC4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2FA6E58-42C2-4A8B-A308-104370CC4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74C4ECC-66C3-4F53-B939-1BCA1A8E2E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5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5642893" cy="38865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985" y="5596296"/>
            <a:ext cx="2083756" cy="527413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F03E577A-0CF0-4602-8B55-1DF3B90C1F44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="" xmlns:a16="http://schemas.microsoft.com/office/drawing/2014/main" id="{BB82A19C-E966-4FB6-A6C2-182C4DA7DBC2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2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01205483-52B0-43FF-AD5F-C98206A3F65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03779250"/>
      </p:ext>
    </p:extLst>
  </p:cSld>
  <p:clrMapOvr>
    <a:masterClrMapping/>
  </p:clrMapOvr>
  <p:transition spd="slow">
    <p:push/>
  </p:transition>
  <p:extLst mod="1">
    <p:ext uri="{DCECCB84-F9BA-43D5-87BE-67443E8EF086}">
      <p15:sldGuideLst xmlns:p15="http://schemas.microsoft.com/office/powerpoint/2012/main" xmlns="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37AE0A9-967E-4DE8-9322-59BBA1977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0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37AE0A9-967E-4DE8-9322-59BBA1977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4B432D4-EAEF-439C-8BD0-5D5F9A5A3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5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5642893" cy="38865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806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6" y="10045609"/>
            <a:ext cx="1576955" cy="17993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6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062924" y="5312863"/>
            <a:ext cx="4112821" cy="538885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4C9CE8B7-13EA-4A54-BA00-9DB65EEC8075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="" xmlns:a16="http://schemas.microsoft.com/office/drawing/2014/main" id="{98858B9E-5229-45A2-A73B-05807C459112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4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54D6C465-01AD-4F64-9EEF-3BBC851C662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37582954"/>
      </p:ext>
    </p:extLst>
  </p:cSld>
  <p:clrMapOvr>
    <a:masterClrMapping/>
  </p:clrMapOvr>
  <p:transition spd="slow">
    <p:push/>
  </p:transition>
  <p:extLst mod="1">
    <p:ext uri="{DCECCB84-F9BA-43D5-87BE-67443E8EF086}">
      <p15:sldGuideLst xmlns:p15="http://schemas.microsoft.com/office/powerpoint/2012/main" xmlns="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778B4846-5D34-40B4-A5DC-B6A52EE49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778B4846-5D34-40B4-A5DC-B6A52EE49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91BC137-0B7C-4682-9520-108DA2F85E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2" y="0"/>
            <a:ext cx="10382304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7552425" cy="388650"/>
          </a:xfrm>
        </p:spPr>
        <p:txBody>
          <a:bodyPr/>
          <a:lstStyle>
            <a:lvl1pPr>
              <a:defRPr sz="280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563" y="5596296"/>
            <a:ext cx="2083756" cy="527413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CEB79453-A4BB-45D1-909C-DE0CC5185133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="" xmlns:a16="http://schemas.microsoft.com/office/drawing/2014/main" id="{88E5BB74-09DF-46EB-89FD-066F825359F9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4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E89B7249-2407-4D77-A0AA-602A9F9D414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90885072"/>
      </p:ext>
    </p:extLst>
  </p:cSld>
  <p:clrMapOvr>
    <a:masterClrMapping/>
  </p:clrMapOvr>
  <p:transition spd="slow">
    <p:push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BA8F6F6A-A66E-4A7D-B36D-992137A4C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5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BA8F6F6A-A66E-4A7D-B36D-992137A4C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BE233755-136D-4B2A-B720-37D0D76AA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2" y="0"/>
            <a:ext cx="10382304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7552425" cy="388650"/>
          </a:xfrm>
        </p:spPr>
        <p:txBody>
          <a:bodyPr/>
          <a:lstStyle>
            <a:lvl1pPr>
              <a:defRPr sz="2806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6" y="10045609"/>
            <a:ext cx="1576955" cy="17993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6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509008" y="5312863"/>
            <a:ext cx="4112821" cy="538885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3DB55B0D-D30F-4BD8-BD07-C4824AF81BA1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="" xmlns:a16="http://schemas.microsoft.com/office/drawing/2014/main" id="{24F19BDB-85D7-47F9-B7A5-E5AEEB7D4658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3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B7AF3139-22A8-4099-BB0C-71E8ADC7388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73364963"/>
      </p:ext>
    </p:extLst>
  </p:cSld>
  <p:clrMapOvr>
    <a:masterClrMapping/>
  </p:clrMapOvr>
  <p:transition spd="slow">
    <p:push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5965360"/>
            <a:ext cx="13198066" cy="2504656"/>
          </a:xfrm>
        </p:spPr>
        <p:txBody>
          <a:bodyPr anchor="b">
            <a:noAutofit/>
          </a:bodyPr>
          <a:lstStyle>
            <a:lvl1pPr marL="0" algn="l" defTabSz="1069190" rtl="0" eaLnBrk="1" fontAlgn="auto" latinLnBrk="0" hangingPunct="1">
              <a:lnSpc>
                <a:spcPts val="7016"/>
              </a:lnSpc>
              <a:spcBef>
                <a:spcPts val="0"/>
              </a:spcBef>
              <a:spcAft>
                <a:spcPts val="0"/>
              </a:spcAft>
              <a:defRPr lang="en-US" sz="5145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895120293"/>
      </p:ext>
    </p:extLst>
  </p:cSld>
  <p:clrMapOvr>
    <a:masterClrMapping/>
  </p:clrMapOvr>
  <p:transition spd="slow">
    <p:push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8" y="2783800"/>
            <a:ext cx="4903944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8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85538" y="5326107"/>
            <a:ext cx="4112820" cy="5365706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5174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F3D2C4E-5C0D-41F0-B61A-EC084746F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1F3D2C4E-5C0D-41F0-B61A-EC084746F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43D080A-FBC1-4863-B3F6-1F9864D67F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145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5965360"/>
            <a:ext cx="13198066" cy="250465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69190" rtl="0" eaLnBrk="1" fontAlgn="auto" latinLnBrk="0" hangingPunct="1">
              <a:lnSpc>
                <a:spcPts val="7016"/>
              </a:lnSpc>
              <a:spcBef>
                <a:spcPts val="0"/>
              </a:spcBef>
              <a:spcAft>
                <a:spcPts val="0"/>
              </a:spcAft>
              <a:defRPr lang="en-US" sz="5145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961559" y="975133"/>
            <a:ext cx="1400695" cy="1431188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9546697"/>
      </p:ext>
    </p:extLst>
  </p:cSld>
  <p:clrMapOvr>
    <a:masterClrMapping/>
  </p:clrMapOvr>
  <p:transition spd="slow">
    <p:push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Bubble"/>
          <p:cNvGrpSpPr/>
          <p:nvPr userDrawn="1"/>
        </p:nvGrpSpPr>
        <p:grpSpPr>
          <a:xfrm>
            <a:off x="1" y="3"/>
            <a:ext cx="15119348" cy="9135724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10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105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8563295" y="2102215"/>
            <a:ext cx="1199293" cy="11912816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48011887"/>
      </p:ext>
    </p:extLst>
  </p:cSld>
  <p:clrMapOvr>
    <a:masterClrMapping/>
  </p:clrMapOvr>
  <p:transition spd="slow">
    <p:push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5869E05E-F5C3-4EFB-97F7-778343B7FD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5869E05E-F5C3-4EFB-97F7-778343B7FD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A85A8014-AB13-41A4-8579-0BDA85E16A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 bwMode="white">
          <a:xfrm>
            <a:off x="13665111" y="10044634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6" cy="388650"/>
          </a:xfrm>
        </p:spPr>
        <p:txBody>
          <a:bodyPr/>
          <a:lstStyle>
            <a:lvl1pPr>
              <a:defRPr sz="280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B49278-EA83-4A9F-A0BF-FF25836806CE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="" xmlns:a16="http://schemas.microsoft.com/office/drawing/2014/main" id="{CB7317DF-DC45-46CE-B0E7-0BC9776F85C1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9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145D68A5-745E-44CA-B24E-7B9F2CCED6F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47991541"/>
      </p:ext>
    </p:extLst>
  </p:cSld>
  <p:clrMapOvr>
    <a:masterClrMapping/>
  </p:clrMapOvr>
  <p:transition spd="slow">
    <p:push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765974"/>
      </p:ext>
    </p:extLst>
  </p:cSld>
  <p:clrMapOvr>
    <a:masterClrMapping/>
  </p:clrMapOvr>
  <p:transition spd="slow">
    <p:push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13665111" y="10044634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292134"/>
      </p:ext>
    </p:extLst>
  </p:cSld>
  <p:clrMapOvr>
    <a:masterClrMapping/>
  </p:clrMapOvr>
  <p:transition spd="slow">
    <p:push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5" y="2478"/>
          <a:ext cx="242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2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25" y="2478"/>
                        <a:ext cx="242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B605033-A15D-481D-8652-C788AD0407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8295"/>
          <a:stretch/>
        </p:blipFill>
        <p:spPr>
          <a:xfrm>
            <a:off x="-1" y="3"/>
            <a:ext cx="11482292" cy="10691812"/>
          </a:xfrm>
          <a:prstGeom prst="rect">
            <a:avLst/>
          </a:prstGeom>
        </p:spPr>
      </p:pic>
      <p:sp>
        <p:nvSpPr>
          <p:cNvPr id="11" name="Freeform: Shape 17">
            <a:extLst>
              <a:ext uri="{FF2B5EF4-FFF2-40B4-BE49-F238E27FC236}">
                <a16:creationId xmlns="" xmlns:a16="http://schemas.microsoft.com/office/drawing/2014/main" id="{04AA2C2B-E2E3-4DBA-8327-F6BEE1554F6A}"/>
              </a:ext>
            </a:extLst>
          </p:cNvPr>
          <p:cNvSpPr/>
          <p:nvPr userDrawn="1"/>
        </p:nvSpPr>
        <p:spPr>
          <a:xfrm flipH="1">
            <a:off x="6230504" y="0"/>
            <a:ext cx="8888848" cy="10691813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6871" tIns="86871" rIns="86871" bIns="86871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331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="" xmlns:a16="http://schemas.microsoft.com/office/drawing/2014/main" id="{BB247506-E7ED-46CD-B329-E7E887621A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9394" y="4707368"/>
            <a:ext cx="3075122" cy="1277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0899883"/>
      </p:ext>
    </p:extLst>
  </p:cSld>
  <p:clrMapOvr>
    <a:masterClrMapping/>
  </p:clrMapOvr>
  <p:transition spd="slow">
    <p:push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12077162" y="9985631"/>
            <a:ext cx="1576957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52" name="A4Grid"/>
          <p:cNvGrpSpPr/>
          <p:nvPr userDrawn="1"/>
        </p:nvGrpSpPr>
        <p:grpSpPr>
          <a:xfrm>
            <a:off x="0" y="0"/>
            <a:ext cx="15119350" cy="10691813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3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40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3" dirty="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3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169"/>
                </a:spcAft>
              </a:pPr>
              <a:endParaRPr lang="en-US" sz="140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249153"/>
              <a:ext cx="7283401" cy="31154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169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169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169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9966838"/>
      </p:ext>
    </p:extLst>
  </p:cSld>
  <p:clrMapOvr>
    <a:masterClrMapping/>
  </p:clrMapOvr>
  <p:transition spd="slow">
    <p:push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4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6" cy="323887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0015982"/>
      </p:ext>
    </p:extLst>
  </p:cSld>
  <p:clrMapOvr>
    <a:masterClrMapping/>
  </p:clrMapOvr>
  <p:transition spd="slow">
    <p:push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ED28D44B-4F21-4AA6-8F07-0F8973A6A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6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ED28D44B-4F21-4AA6-8F07-0F8973A6A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E0FA1AA-EFC9-43C2-B04A-C4867F1C8D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39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6" cy="323887"/>
          </a:xfrm>
        </p:spPr>
        <p:txBody>
          <a:bodyPr/>
          <a:lstStyle>
            <a:lvl1pPr>
              <a:defRPr sz="233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0644" y="3251554"/>
            <a:ext cx="13198980" cy="63259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3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3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3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71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71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86406"/>
      </p:ext>
    </p:extLst>
  </p:cSld>
  <p:clrMapOvr>
    <a:masterClrMapping/>
  </p:clrMapOvr>
  <p:transition spd="slow">
    <p:push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C8EBAB8-5ECC-4C80-BB85-427EA75A2D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9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4C8EBAB8-5ECC-4C80-BB85-427EA75A2D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1863E42-93AF-44F1-A770-4A3F242169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nelGray"/>
          <p:cNvSpPr/>
          <p:nvPr userDrawn="1"/>
        </p:nvSpPr>
        <p:spPr bwMode="white">
          <a:xfrm>
            <a:off x="2" y="-2039"/>
            <a:ext cx="5873744" cy="1069385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6918" tIns="53459" rIns="106918" bIns="5345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961559" y="3365925"/>
            <a:ext cx="4514132" cy="8445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71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534595" indent="0" algn="ctr">
              <a:buNone/>
              <a:defRPr sz="2339"/>
            </a:lvl2pPr>
            <a:lvl3pPr marL="1069190" indent="0" algn="ctr">
              <a:buNone/>
              <a:defRPr sz="2105"/>
            </a:lvl3pPr>
            <a:lvl4pPr marL="1603784" indent="0" algn="ctr">
              <a:buNone/>
              <a:defRPr sz="1871"/>
            </a:lvl4pPr>
            <a:lvl5pPr marL="2138379" indent="0" algn="ctr">
              <a:buNone/>
              <a:defRPr sz="1871"/>
            </a:lvl5pPr>
            <a:lvl6pPr marL="2672974" indent="0" algn="ctr">
              <a:buNone/>
              <a:defRPr sz="1871"/>
            </a:lvl6pPr>
            <a:lvl7pPr marL="3207569" indent="0" algn="ctr">
              <a:buNone/>
              <a:defRPr sz="1871"/>
            </a:lvl7pPr>
            <a:lvl8pPr marL="3742164" indent="0" algn="ctr">
              <a:buNone/>
              <a:defRPr sz="1871"/>
            </a:lvl8pPr>
            <a:lvl9pPr marL="4276759" indent="0" algn="ctr">
              <a:buNone/>
              <a:defRPr sz="1871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961559" y="1913006"/>
            <a:ext cx="4514132" cy="1036437"/>
          </a:xfrm>
        </p:spPr>
        <p:txBody>
          <a:bodyPr anchor="t">
            <a:noAutofit/>
          </a:bodyPr>
          <a:lstStyle>
            <a:lvl1pPr>
              <a:defRPr sz="280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FB943CAC-0944-4C5F-81B3-4EF0921955E4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="" xmlns:a16="http://schemas.microsoft.com/office/drawing/2014/main" id="{6B5F0A31-0833-4049-BBA2-0CBEB829A7F5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2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14051FBA-5FCA-44BA-B1B8-ECCBD6BBE80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29623615"/>
      </p:ext>
    </p:extLst>
  </p:cSld>
  <p:clrMapOvr>
    <a:masterClrMapping/>
  </p:clrMapOvr>
  <p:transition spd="slow">
    <p:push/>
  </p:transition>
  <p:extLst mod="1">
    <p:ext uri="{DCECCB84-F9BA-43D5-87BE-67443E8EF086}">
      <p15:sldGuideLst xmlns:p15="http://schemas.microsoft.com/office/powerpoint/2012/main" xmlns="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2FA6E58-42C2-4A8B-A308-104370CC4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74C4ECC-66C3-4F53-B939-1BCA1A8E2E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5642894" cy="51821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3983" y="5596296"/>
            <a:ext cx="2083757" cy="527413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age">
            <a:extLst>
              <a:ext uri="{FF2B5EF4-FFF2-40B4-BE49-F238E27FC236}">
                <a16:creationId xmlns="" xmlns:a16="http://schemas.microsoft.com/office/drawing/2014/main" id="{6011CEE0-B3C0-F443-8D4A-0CAB08700A87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6034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351675" y="4159551"/>
            <a:ext cx="12417830" cy="4990488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1069190" rtl="0" eaLnBrk="1" fontAlgn="auto" latinLnBrk="0" hangingPunct="1">
              <a:lnSpc>
                <a:spcPts val="7016"/>
              </a:lnSpc>
              <a:spcBef>
                <a:spcPts val="0"/>
              </a:spcBef>
              <a:spcAft>
                <a:spcPts val="0"/>
              </a:spcAft>
              <a:defRPr lang="en-US" sz="5145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1351675" y="2272755"/>
            <a:ext cx="1399182" cy="1431188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920232"/>
      </p:ext>
    </p:extLst>
  </p:cSld>
  <p:clrMapOvr>
    <a:masterClrMapping/>
  </p:clrMapOvr>
  <p:transition spd="slow">
    <p:push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7" y="5966088"/>
            <a:ext cx="13198066" cy="3182288"/>
          </a:xfrm>
        </p:spPr>
        <p:txBody>
          <a:bodyPr anchor="t">
            <a:noAutofit/>
          </a:bodyPr>
          <a:lstStyle>
            <a:lvl1pPr>
              <a:defRPr sz="5145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961558" y="5741588"/>
            <a:ext cx="14159624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1718483"/>
      </p:ext>
    </p:extLst>
  </p:cSld>
  <p:clrMapOvr>
    <a:masterClrMapping/>
  </p:clrMapOvr>
  <p:transition spd="slow">
    <p:push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16DB845-D642-43C7-8535-E3B464D96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1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216DB845-D642-43C7-8535-E3B464D96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317B321-735F-44DA-8D89-0650102D35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107019" y="0"/>
            <a:ext cx="637375" cy="10691813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2" y="0"/>
            <a:ext cx="512501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961559" y="4179914"/>
            <a:ext cx="3774800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296DC8EC-676E-4A58-B3BC-C7FC6F773C9E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="" xmlns:a16="http://schemas.microsoft.com/office/drawing/2014/main" id="{C7696E16-0176-48EB-8DA3-DC0850B9C7C9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1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75B5CC39-AE68-49EE-A408-396A7B00FAD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91459088"/>
      </p:ext>
    </p:extLst>
  </p:cSld>
  <p:clrMapOvr>
    <a:masterClrMapping/>
  </p:clrMapOvr>
  <p:transition spd="slow">
    <p:push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C5399BC-ACDA-449D-BB5F-CC277456B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4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1C5399BC-ACDA-449D-BB5F-CC277456B3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54244749-BF85-4373-908E-95B2E371CF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860946" y="0"/>
            <a:ext cx="637375" cy="10691813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2" y="0"/>
            <a:ext cx="887033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970965"/>
            <a:ext cx="7544980" cy="323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9ED91B91-7C25-4A8D-BB82-FD56ADCE9A13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="" xmlns:a16="http://schemas.microsoft.com/office/drawing/2014/main" id="{A421E79B-0628-4D1F-AB40-A63E902F9A9A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1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4D95A410-51EF-4C79-B57A-F40C7226797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32744511"/>
      </p:ext>
    </p:extLst>
  </p:cSld>
  <p:clrMapOvr>
    <a:masterClrMapping/>
  </p:clrMapOvr>
  <p:transition spd="slow">
    <p:push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0C77578-97C6-4148-91B9-EF51C7DEE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6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E0C77578-97C6-4148-91B9-EF51C7DEE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8D10392-52A3-49EB-A52C-33391550D8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11112134" y="0"/>
            <a:ext cx="637375" cy="10691813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1" y="0"/>
            <a:ext cx="1112152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8" y="970965"/>
            <a:ext cx="9808838" cy="323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0056CDC8-EB5E-47AF-A5DE-9A7311B71B2D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="" xmlns:a16="http://schemas.microsoft.com/office/drawing/2014/main" id="{8A47DF62-2365-41A9-93FE-C90CA196343D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1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E509D7F2-08F7-4F55-884E-AE91EB93E99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79475352"/>
      </p:ext>
    </p:extLst>
  </p:cSld>
  <p:clrMapOvr>
    <a:masterClrMapping/>
  </p:clrMapOvr>
  <p:transition spd="slow">
    <p:push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91479" y="0"/>
            <a:ext cx="63638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5129530" y="-2039"/>
            <a:ext cx="9989821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961559" y="4179914"/>
            <a:ext cx="3774800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54B773FC-C722-4BD5-B35A-3822F34EA513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="" xmlns:a16="http://schemas.microsoft.com/office/drawing/2014/main" id="{5E7C69FD-BE25-4997-B520-5ADD50C6BD2D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9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F0977879-70A8-439C-99A2-5B27C07985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153415"/>
      </p:ext>
    </p:extLst>
  </p:cSld>
  <p:clrMapOvr>
    <a:masterClrMapping/>
  </p:clrMapOvr>
  <p:transition spd="slow">
    <p:push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935364" y="0"/>
            <a:ext cx="63737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7559675" y="0"/>
            <a:ext cx="7559675" cy="10691813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558760" y="0"/>
            <a:ext cx="7560590" cy="1069181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10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35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7" y="2783800"/>
            <a:ext cx="5296810" cy="5124213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74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D7BC1E64-25F9-4001-AAA7-3F6A7605507C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9" name="Rectangle: Rounded Corners 8">
              <a:extLst>
                <a:ext uri="{FF2B5EF4-FFF2-40B4-BE49-F238E27FC236}">
                  <a16:creationId xmlns="" xmlns:a16="http://schemas.microsoft.com/office/drawing/2014/main" id="{B159B36D-3B67-4ADE-B588-80BF7FE3A7D1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9CEF9425-7C30-4FAF-B4B5-170B32ED86B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86436114"/>
      </p:ext>
    </p:extLst>
  </p:cSld>
  <p:clrMapOvr>
    <a:masterClrMapping/>
  </p:clrMapOvr>
  <p:transition spd="slow">
    <p:push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9015911" y="0"/>
            <a:ext cx="63638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9641220" y="0"/>
            <a:ext cx="5478132" cy="10691813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9643050" y="0"/>
            <a:ext cx="5476300" cy="10691813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2105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35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961560" y="2783800"/>
            <a:ext cx="754960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74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A8403664-7AAA-433D-ACEF-F23195B3F2D5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9" name="Rectangle: Rounded Corners 8">
              <a:extLst>
                <a:ext uri="{FF2B5EF4-FFF2-40B4-BE49-F238E27FC236}">
                  <a16:creationId xmlns="" xmlns:a16="http://schemas.microsoft.com/office/drawing/2014/main" id="{638DE8F0-ED09-4CFE-AE52-1D15590C1E83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A25086CC-911E-40B9-823C-B96205D7EB4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22199078"/>
      </p:ext>
    </p:extLst>
  </p:cSld>
  <p:clrMapOvr>
    <a:masterClrMapping/>
  </p:clrMapOvr>
  <p:transition spd="slow">
    <p:push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FDD86A1-0D80-4D5D-9955-947D5C604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9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CFDD86A1-0D80-4D5D-9955-947D5C604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B014008-40B7-444A-B787-756535FCC5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961558" y="4321386"/>
            <a:ext cx="3027534" cy="20490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87" y="5597533"/>
            <a:ext cx="2083756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B9D314C3-53D7-4EFA-95F2-578940BB4677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="" xmlns:a16="http://schemas.microsoft.com/office/drawing/2014/main" id="{4B44CA31-7A38-4EBF-997A-5A5A9471AD4B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2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ADAB33A1-F496-4EF7-AECB-D53F54A59F7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7882802"/>
      </p:ext>
    </p:extLst>
  </p:cSld>
  <p:clrMapOvr>
    <a:masterClrMapping/>
  </p:clrMapOvr>
  <p:transition spd="slow">
    <p:push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321386"/>
            <a:ext cx="3027534" cy="2049047"/>
          </a:xfrm>
        </p:spPr>
        <p:txBody>
          <a:bodyPr anchor="ctr" anchorCtr="0">
            <a:noAutofit/>
          </a:bodyPr>
          <a:lstStyle>
            <a:lvl1pPr>
              <a:defRPr sz="3274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6" y="10045609"/>
            <a:ext cx="1576955" cy="17993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6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206981" y="5305106"/>
            <a:ext cx="4112821" cy="5396957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4E213491-6FD1-4AD5-AFF1-8587A3008379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="" xmlns:a16="http://schemas.microsoft.com/office/drawing/2014/main" id="{64E3CE00-9A2C-46C3-85F1-BC13F88822D9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C818DE8A-E149-40BB-8836-3C8ABCBE8B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77269820"/>
      </p:ext>
    </p:extLst>
  </p:cSld>
  <p:clrMapOvr>
    <a:masterClrMapping/>
  </p:clrMapOvr>
  <p:transition spd="slow">
    <p:push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37AE0A9-967E-4DE8-9322-59BBA1977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4B432D4-EAEF-439C-8BD0-5D5F9A5A3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5642894" cy="51821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63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5062923" y="5312861"/>
            <a:ext cx="4112820" cy="538885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43632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7E35D50-D996-444A-8FD0-7DBE027B6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C7E35D50-D996-444A-8FD0-7DBE027B6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ABC10EC-028B-4409-BC2E-3975D53D2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742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35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961560" y="2783800"/>
            <a:ext cx="490669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742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344" y="5291954"/>
            <a:ext cx="1981991" cy="5568653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829C9D0C-FD08-4FDF-92A0-8970567BDF0E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="" xmlns:a16="http://schemas.microsoft.com/office/drawing/2014/main" id="{A042C9A9-E8AA-486A-A024-40AC6EAEA1F7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4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0F205460-604D-4F89-8EFB-3616BBEA6EC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53804410"/>
      </p:ext>
    </p:extLst>
  </p:cSld>
  <p:clrMapOvr>
    <a:masterClrMapping/>
  </p:clrMapOvr>
  <p:transition spd="slow">
    <p:push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961560" y="2783800"/>
            <a:ext cx="490669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742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6" y="10045609"/>
            <a:ext cx="1576955" cy="17993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6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985536" y="5326107"/>
            <a:ext cx="4112821" cy="5365706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AB555B6B-36DB-44D6-B3DC-F2FF65CCCBCB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="" xmlns:a16="http://schemas.microsoft.com/office/drawing/2014/main" id="{88CD1423-1479-4AAE-9BEF-2F32220F7769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FFB08D30-BA74-4F6A-8E75-62C94B479CB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75590736"/>
      </p:ext>
    </p:extLst>
  </p:cSld>
  <p:clrMapOvr>
    <a:masterClrMapping/>
  </p:clrMapOvr>
  <p:transition spd="slow">
    <p:push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42367645-74E2-459A-BE9A-64DF24D64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5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61560" y="970965"/>
            <a:ext cx="5642893" cy="323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985" y="5596296"/>
            <a:ext cx="2083756" cy="527413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974FB527-03BE-48C1-8371-4FB51F474227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="" xmlns:a16="http://schemas.microsoft.com/office/drawing/2014/main" id="{1A3B374B-63E2-4889-BBA9-A22B39D5F747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2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867FC39F-12E5-4597-BE4F-56192E4B15A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09690266"/>
      </p:ext>
    </p:extLst>
  </p:cSld>
  <p:clrMapOvr>
    <a:masterClrMapping/>
  </p:clrMapOvr>
  <p:transition spd="slow">
    <p:push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5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61560" y="970965"/>
            <a:ext cx="5642893" cy="323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6" y="10045609"/>
            <a:ext cx="1576955" cy="17993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6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062924" y="5312863"/>
            <a:ext cx="4112821" cy="538885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EBCDA82-A08E-4AD2-B16F-F136AC41F38C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="" xmlns:a16="http://schemas.microsoft.com/office/drawing/2014/main" id="{CF441292-452F-40AF-8EFE-A7D63D62AC83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494B0FD5-5AD6-4C18-994B-55C45D76077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04451875"/>
      </p:ext>
    </p:extLst>
  </p:cSld>
  <p:clrMapOvr>
    <a:masterClrMapping/>
  </p:clrMapOvr>
  <p:transition spd="slow">
    <p:push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0123D111-C99F-4588-B064-E7EA60241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6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0123D111-C99F-4588-B064-E7EA60241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46B26778-A0D0-4E1F-B2D3-38247D6591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6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2" y="0"/>
            <a:ext cx="10382304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7552425" cy="323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563" y="5596296"/>
            <a:ext cx="2083756" cy="527413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F85B1EEC-AB8E-4DE3-80DA-ABB73B219E58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="" xmlns:a16="http://schemas.microsoft.com/office/drawing/2014/main" id="{70104ACB-252A-4E5D-B83A-FF3894CCE83E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2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D1629BC7-9F7C-42ED-8C45-A9F8D65DD5D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60518843"/>
      </p:ext>
    </p:extLst>
  </p:cSld>
  <p:clrMapOvr>
    <a:masterClrMapping/>
  </p:clrMapOvr>
  <p:transition spd="slow">
    <p:push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2" y="0"/>
            <a:ext cx="10382304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169"/>
              </a:spcAft>
            </a:pPr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7552425" cy="3238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6" y="10045609"/>
            <a:ext cx="1576955" cy="17993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6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509008" y="5312863"/>
            <a:ext cx="4112821" cy="538885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D6CBBC7D-2354-4AAC-9218-8E2B551F07A9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8" name="Rectangle: Rounded Corners 7">
              <a:extLst>
                <a:ext uri="{FF2B5EF4-FFF2-40B4-BE49-F238E27FC236}">
                  <a16:creationId xmlns="" xmlns:a16="http://schemas.microsoft.com/office/drawing/2014/main" id="{2296301D-209F-43DE-80A3-CA8C2B22A9A9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0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907D9C4C-950D-4FB9-8B00-22541F034CE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62289464"/>
      </p:ext>
    </p:extLst>
  </p:cSld>
  <p:clrMapOvr>
    <a:masterClrMapping/>
  </p:clrMapOvr>
  <p:transition spd="slow">
    <p:push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5965360"/>
            <a:ext cx="13198066" cy="2504656"/>
          </a:xfrm>
        </p:spPr>
        <p:txBody>
          <a:bodyPr anchor="b">
            <a:noAutofit/>
          </a:bodyPr>
          <a:lstStyle>
            <a:lvl1pPr marL="0" algn="l" defTabSz="1069190" rtl="0" eaLnBrk="1" fontAlgn="auto" latinLnBrk="0" hangingPunct="1">
              <a:lnSpc>
                <a:spcPts val="7016"/>
              </a:lnSpc>
              <a:spcBef>
                <a:spcPts val="0"/>
              </a:spcBef>
              <a:spcAft>
                <a:spcPts val="0"/>
              </a:spcAft>
              <a:defRPr lang="en-US" sz="5145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388767156"/>
      </p:ext>
    </p:extLst>
  </p:cSld>
  <p:clrMapOvr>
    <a:masterClrMapping/>
  </p:clrMapOvr>
  <p:transition spd="slow">
    <p:push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4C4DA86-0B4D-473B-A8D5-F01B0F7DF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8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4C4DA86-0B4D-473B-A8D5-F01B0F7DF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02ABC3C-A083-42EB-84D3-16BA28606C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145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5965360"/>
            <a:ext cx="13198066" cy="250465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69190" rtl="0" eaLnBrk="1" fontAlgn="auto" latinLnBrk="0" hangingPunct="1">
              <a:lnSpc>
                <a:spcPts val="7016"/>
              </a:lnSpc>
              <a:spcBef>
                <a:spcPts val="0"/>
              </a:spcBef>
              <a:spcAft>
                <a:spcPts val="0"/>
              </a:spcAft>
              <a:defRPr lang="en-US" sz="5145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961559" y="970962"/>
            <a:ext cx="1400695" cy="1431188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273781"/>
      </p:ext>
    </p:extLst>
  </p:cSld>
  <p:clrMapOvr>
    <a:masterClrMapping/>
  </p:clrMapOvr>
  <p:transition spd="slow">
    <p:push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3"/>
            <a:ext cx="15119348" cy="9135724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105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105" dirty="0">
                <a:solidFill>
                  <a:schemeClr val="tx1"/>
                </a:solidFill>
                <a:latin typeface="+mn-lt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8563295" y="2102215"/>
            <a:ext cx="1199293" cy="11912816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14377659"/>
      </p:ext>
    </p:extLst>
  </p:cSld>
  <p:clrMapOvr>
    <a:masterClrMapping/>
  </p:clrMapOvr>
  <p:transition spd="slow">
    <p:push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13665111" y="10044634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6" cy="32388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B43D2413-913F-48E8-B1EE-D39B78121901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7" name="Rectangle: Rounded Corners 6">
              <a:extLst>
                <a:ext uri="{FF2B5EF4-FFF2-40B4-BE49-F238E27FC236}">
                  <a16:creationId xmlns="" xmlns:a16="http://schemas.microsoft.com/office/drawing/2014/main" id="{FC258CEB-B5F1-4D76-A5B5-5FA986F072DF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8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29AE6506-DA22-4A83-B8E8-6D59FCF406A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60049371"/>
      </p:ext>
    </p:extLst>
  </p:cSld>
  <p:clrMapOvr>
    <a:masterClrMapping/>
  </p:clrMapOvr>
  <p:transition spd="slow">
    <p:push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778B4846-5D34-40B4-A5DC-B6A52EE49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91BC137-0B7C-4682-9520-108DA2F85E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52424" cy="518219"/>
          </a:xfrm>
        </p:spPr>
        <p:txBody>
          <a:bodyPr/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4562" y="5596296"/>
            <a:ext cx="2083757" cy="527413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840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White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944277" y="4506641"/>
            <a:ext cx="3395672" cy="167853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818"/>
              </a:spcAft>
              <a:buFontTx/>
              <a:buNone/>
            </a:pPr>
            <a:r>
              <a:rPr lang="en-US" sz="5145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87" y="5597533"/>
            <a:ext cx="2083756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4383472"/>
      </p:ext>
    </p:extLst>
  </p:cSld>
  <p:clrMapOvr>
    <a:masterClrMapping/>
  </p:clrMapOvr>
  <p:transition spd="slow">
    <p:push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901390"/>
      </p:ext>
    </p:extLst>
  </p:cSld>
  <p:clrMapOvr>
    <a:masterClrMapping/>
  </p:clrMapOvr>
  <p:transition spd="slow">
    <p:push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997025"/>
      </p:ext>
    </p:extLst>
  </p:cSld>
  <p:clrMapOvr>
    <a:masterClrMapping/>
  </p:clrMapOvr>
  <p:transition spd="slow">
    <p:push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15119350" cy="10691813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03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40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3" dirty="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3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3" dirty="0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169"/>
                </a:spcAft>
              </a:pPr>
              <a:endParaRPr lang="en-US" sz="140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249153"/>
              <a:ext cx="7283401" cy="31154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16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16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16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2077166" y="9985631"/>
            <a:ext cx="1576955" cy="2399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4225492"/>
      </p:ext>
    </p:extLst>
  </p:cSld>
  <p:clrMapOvr>
    <a:masterClrMapping/>
  </p:clrMapOvr>
  <p:transition spd="slow">
    <p:push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0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11" y="10044634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698661" y="7097909"/>
            <a:ext cx="1329696" cy="136013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339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4247118" y="7097908"/>
            <a:ext cx="2005535" cy="204649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81" tIns="21046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339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5"/>
            </p:custDataLst>
          </p:nvPr>
        </p:nvSpPr>
        <p:spPr>
          <a:xfrm>
            <a:off x="961559" y="1425576"/>
            <a:ext cx="5291093" cy="5447831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0938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5145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63592759"/>
      </p:ext>
    </p:extLst>
  </p:cSld>
  <p:clrMapOvr>
    <a:masterClrMapping/>
  </p:clrMapOvr>
  <p:transition spd="slow">
    <p:push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3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11" y="10044634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351677" y="4159551"/>
            <a:ext cx="12416915" cy="49904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0754" tIns="320754" rIns="320754" bIns="16037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7016"/>
              </a:lnSpc>
            </a:pPr>
            <a:endParaRPr lang="en-US" sz="5145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1351678" y="2272754"/>
            <a:ext cx="1399837" cy="14311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339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426521"/>
      </p:ext>
    </p:extLst>
  </p:cSld>
  <p:clrMapOvr>
    <a:masterClrMapping/>
  </p:clrMapOvr>
  <p:transition spd="slow">
    <p:push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5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11" y="10044634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959499" y="1880189"/>
            <a:ext cx="14159853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959498" y="970963"/>
            <a:ext cx="10973964" cy="7341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3274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77282440"/>
      </p:ext>
    </p:extLst>
  </p:cSld>
  <p:clrMapOvr>
    <a:masterClrMapping/>
  </p:clrMapOvr>
  <p:transition spd="slow">
    <p:push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91479" y="0"/>
            <a:ext cx="636385" cy="10691813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5129530" y="-2039"/>
            <a:ext cx="9989821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961559" y="4181313"/>
            <a:ext cx="3774800" cy="23348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702"/>
              </a:spcAft>
            </a:pPr>
            <a:r>
              <a:rPr lang="en-US" sz="3274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43679420"/>
      </p:ext>
    </p:extLst>
  </p:cSld>
  <p:clrMapOvr>
    <a:masterClrMapping/>
  </p:clrMapOvr>
  <p:transition spd="slow">
    <p:push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0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2698657" y="7097909"/>
            <a:ext cx="1329696" cy="136013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3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4247115" y="7097908"/>
            <a:ext cx="2005535" cy="204649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6281" tIns="210469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3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961555" y="1425576"/>
            <a:ext cx="5291093" cy="5447831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20938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5145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35149116"/>
      </p:ext>
    </p:extLst>
  </p:cSld>
  <p:clrMapOvr>
    <a:masterClrMapping/>
  </p:clrMapOvr>
  <p:transition spd="slow">
    <p:push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1351672" y="4159551"/>
            <a:ext cx="12416915" cy="499048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0754" tIns="320754" rIns="320754" bIns="160377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7016"/>
              </a:lnSpc>
            </a:pPr>
            <a:endParaRPr lang="en-US" sz="5145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1351673" y="2272754"/>
            <a:ext cx="1399837" cy="143118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3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036928"/>
      </p:ext>
    </p:extLst>
  </p:cSld>
  <p:clrMapOvr>
    <a:masterClrMapping/>
  </p:clrMapOvr>
  <p:transition spd="slow">
    <p:push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BA8F6F6A-A66E-4A7D-B36D-992137A4C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BE233755-136D-4B2A-B720-37D0D76AA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52424" cy="518219"/>
          </a:xfrm>
        </p:spPr>
        <p:txBody>
          <a:bodyPr/>
          <a:lstStyle>
            <a:lvl1pPr>
              <a:defRPr sz="3663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7509009" y="5312861"/>
            <a:ext cx="4112820" cy="538885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700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959499" y="1880186"/>
            <a:ext cx="14159853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959498" y="970962"/>
            <a:ext cx="10973964" cy="7341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6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12647976"/>
      </p:ext>
    </p:extLst>
  </p:cSld>
  <p:clrMapOvr>
    <a:masterClrMapping/>
  </p:clrMapOvr>
  <p:transition spd="slow">
    <p:push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91479" y="0"/>
            <a:ext cx="63638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5129530" y="-2039"/>
            <a:ext cx="9989821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961559" y="4181313"/>
            <a:ext cx="3774800" cy="23348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702"/>
              </a:spcAft>
            </a:pPr>
            <a:r>
              <a:rPr lang="en-US" sz="2806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41744403"/>
      </p:ext>
    </p:extLst>
  </p:cSld>
  <p:clrMapOvr>
    <a:masterClrMapping/>
  </p:clrMapOvr>
  <p:transition spd="slow">
    <p:push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0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11" y="10045625"/>
            <a:ext cx="472481" cy="1799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691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69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691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69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944277" y="4506641"/>
            <a:ext cx="3395672" cy="167853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818"/>
              </a:spcAft>
              <a:buFontTx/>
              <a:buNone/>
            </a:pPr>
            <a:r>
              <a:rPr lang="en-US" sz="5145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87" y="5597533"/>
            <a:ext cx="2083756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1414276"/>
      </p:ext>
    </p:extLst>
  </p:cSld>
  <p:clrMapOvr>
    <a:masterClrMapping/>
  </p:clrMapOvr>
  <p:transition spd="slow">
    <p:push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884" b="1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8B8F3CEA-B622-4CEE-B1CE-3916DECC9EF7}"/>
              </a:ext>
            </a:extLst>
          </p:cNvPr>
          <p:cNvSpPr/>
          <p:nvPr userDrawn="1"/>
        </p:nvSpPr>
        <p:spPr>
          <a:xfrm>
            <a:off x="0" y="0"/>
            <a:ext cx="15119350" cy="10691813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pic>
        <p:nvPicPr>
          <p:cNvPr id="14" name="Picture 13" descr="A picture containing blue&#10;&#10;Description automatically generated">
            <a:extLst>
              <a:ext uri="{FF2B5EF4-FFF2-40B4-BE49-F238E27FC236}">
                <a16:creationId xmlns="" xmlns:a16="http://schemas.microsoft.com/office/drawing/2014/main" id="{2C6C4F34-2E5C-4F88-82D1-D5EBA8C9EC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63"/>
          <a:stretch>
            <a:fillRect/>
          </a:stretch>
        </p:blipFill>
        <p:spPr>
          <a:xfrm>
            <a:off x="4875144" y="-1"/>
            <a:ext cx="10244207" cy="10691796"/>
          </a:xfrm>
          <a:custGeom>
            <a:avLst/>
            <a:gdLst>
              <a:gd name="connsiteX0" fmla="*/ 2097992 w 10244207"/>
              <a:gd name="connsiteY0" fmla="*/ 0 h 10691796"/>
              <a:gd name="connsiteX1" fmla="*/ 10244207 w 10244207"/>
              <a:gd name="connsiteY1" fmla="*/ 0 h 10691796"/>
              <a:gd name="connsiteX2" fmla="*/ 10244207 w 10244207"/>
              <a:gd name="connsiteY2" fmla="*/ 10691796 h 10691796"/>
              <a:gd name="connsiteX3" fmla="*/ 1827803 w 10244207"/>
              <a:gd name="connsiteY3" fmla="*/ 10691796 h 10691796"/>
              <a:gd name="connsiteX4" fmla="*/ 1644651 w 10244207"/>
              <a:gd name="connsiteY4" fmla="*/ 10458733 h 10691796"/>
              <a:gd name="connsiteX5" fmla="*/ 0 w 10244207"/>
              <a:gd name="connsiteY5" fmla="*/ 5505553 h 10691796"/>
              <a:gd name="connsiteX6" fmla="*/ 1890414 w 10244207"/>
              <a:gd name="connsiteY6" fmla="*/ 239636 h 10691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44207" h="10691796">
                <a:moveTo>
                  <a:pt x="2097992" y="0"/>
                </a:moveTo>
                <a:lnTo>
                  <a:pt x="10244207" y="0"/>
                </a:lnTo>
                <a:lnTo>
                  <a:pt x="10244207" y="10691796"/>
                </a:lnTo>
                <a:lnTo>
                  <a:pt x="1827803" y="10691796"/>
                </a:lnTo>
                <a:lnTo>
                  <a:pt x="1644651" y="10458733"/>
                </a:lnTo>
                <a:cubicBezTo>
                  <a:pt x="611705" y="9077520"/>
                  <a:pt x="0" y="7362973"/>
                  <a:pt x="0" y="5505553"/>
                </a:cubicBezTo>
                <a:cubicBezTo>
                  <a:pt x="0" y="3505256"/>
                  <a:pt x="709433" y="1670655"/>
                  <a:pt x="1890414" y="239636"/>
                </a:cubicBezTo>
                <a:close/>
              </a:path>
            </a:pathLst>
          </a:custGeom>
        </p:spPr>
      </p:pic>
      <p:sp>
        <p:nvSpPr>
          <p:cNvPr id="16" name="Freeform: Shape 15">
            <a:extLst>
              <a:ext uri="{FF2B5EF4-FFF2-40B4-BE49-F238E27FC236}">
                <a16:creationId xmlns="" xmlns:a16="http://schemas.microsoft.com/office/drawing/2014/main" id="{A4B8A7A7-BAE6-4F9E-A1F1-D3826D22B7E2}"/>
              </a:ext>
            </a:extLst>
          </p:cNvPr>
          <p:cNvSpPr/>
          <p:nvPr userDrawn="1"/>
        </p:nvSpPr>
        <p:spPr>
          <a:xfrm>
            <a:off x="0" y="0"/>
            <a:ext cx="8514436" cy="10691813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9528D4DA-5E9B-430B-A0DA-C5897F60E0DC}"/>
              </a:ext>
            </a:extLst>
          </p:cNvPr>
          <p:cNvCxnSpPr/>
          <p:nvPr userDrawn="1"/>
        </p:nvCxnSpPr>
        <p:spPr>
          <a:xfrm>
            <a:off x="960639" y="8010842"/>
            <a:ext cx="2238827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60639" y="8448318"/>
            <a:ext cx="6380969" cy="438947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2747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348912" indent="0" algn="ctr">
              <a:buNone/>
              <a:defRPr/>
            </a:lvl4pPr>
            <a:lvl5pPr marL="697824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60639" y="6859426"/>
            <a:ext cx="6380967" cy="71395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4884" b="1" baseline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93812" name="Picture 276" descr="Заказ выписок ЕГРН из Росреестра.">
            <a:extLst>
              <a:ext uri="{FF2B5EF4-FFF2-40B4-BE49-F238E27FC236}">
                <a16:creationId xmlns="" xmlns:a16="http://schemas.microsoft.com/office/drawing/2014/main" id="{48EA4FD4-1A07-40DB-A91B-E8E0786871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639" y="969162"/>
            <a:ext cx="969761" cy="1467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677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0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884" b="1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="" xmlns:a16="http://schemas.microsoft.com/office/drawing/2014/main" id="{46737ADC-79DD-4520-8DE6-FE11FE7E14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48976" y="-1"/>
            <a:ext cx="11070374" cy="10691796"/>
          </a:xfrm>
          <a:custGeom>
            <a:avLst/>
            <a:gdLst>
              <a:gd name="connsiteX0" fmla="*/ 0 w 7253164"/>
              <a:gd name="connsiteY0" fmla="*/ 0 h 6857989"/>
              <a:gd name="connsiteX1" fmla="*/ 7253164 w 7253164"/>
              <a:gd name="connsiteY1" fmla="*/ 0 h 6857989"/>
              <a:gd name="connsiteX2" fmla="*/ 7253164 w 7253164"/>
              <a:gd name="connsiteY2" fmla="*/ 6857989 h 6857989"/>
              <a:gd name="connsiteX3" fmla="*/ 0 w 7253164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53164" h="6857989">
                <a:moveTo>
                  <a:pt x="0" y="0"/>
                </a:moveTo>
                <a:lnTo>
                  <a:pt x="7253164" y="0"/>
                </a:lnTo>
                <a:lnTo>
                  <a:pt x="7253164" y="6857989"/>
                </a:lnTo>
                <a:lnTo>
                  <a:pt x="0" y="6857989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D4F1022C-A41F-4F64-A704-343E6666F2DE}"/>
              </a:ext>
            </a:extLst>
          </p:cNvPr>
          <p:cNvSpPr/>
          <p:nvPr userDrawn="1"/>
        </p:nvSpPr>
        <p:spPr>
          <a:xfrm>
            <a:off x="4996400" y="0"/>
            <a:ext cx="10122950" cy="10691813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563" tIns="69782" rIns="139563" bIns="697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2" dirty="0">
              <a:solidFill>
                <a:srgbClr val="FFFFFF"/>
              </a:solidFill>
            </a:endParaRPr>
          </a:p>
        </p:txBody>
      </p:sp>
      <p:sp>
        <p:nvSpPr>
          <p:cNvPr id="13" name="Freeform: Shape 17">
            <a:extLst>
              <a:ext uri="{FF2B5EF4-FFF2-40B4-BE49-F238E27FC236}">
                <a16:creationId xmlns="" xmlns:a16="http://schemas.microsoft.com/office/drawing/2014/main" id="{04AA2C2B-E2E3-4DBA-8327-F6BEE1554F6A}"/>
              </a:ext>
            </a:extLst>
          </p:cNvPr>
          <p:cNvSpPr/>
          <p:nvPr userDrawn="1"/>
        </p:nvSpPr>
        <p:spPr>
          <a:xfrm flipV="1">
            <a:off x="1" y="0"/>
            <a:ext cx="8888848" cy="10691813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13395" tIns="113395" rIns="113395" bIns="113395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737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9528D4DA-5E9B-430B-A0DA-C5897F60E0DC}"/>
              </a:ext>
            </a:extLst>
          </p:cNvPr>
          <p:cNvCxnSpPr/>
          <p:nvPr userDrawn="1"/>
        </p:nvCxnSpPr>
        <p:spPr>
          <a:xfrm>
            <a:off x="960639" y="8010842"/>
            <a:ext cx="2238827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60639" y="8448318"/>
            <a:ext cx="6380969" cy="438947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2747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348912" indent="0" algn="ctr">
              <a:buNone/>
              <a:defRPr/>
            </a:lvl4pPr>
            <a:lvl5pPr marL="697824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60639" y="6859426"/>
            <a:ext cx="6380967" cy="71395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4884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65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BD2686C-F4F7-4B49-9FA7-547747A55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2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4BD2686C-F4F7-4B49-9FA7-547747A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CBDCE76-2E58-4C33-B825-70B22AB66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518219"/>
          </a:xfrm>
        </p:spPr>
        <p:txBody>
          <a:bodyPr/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2094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7648504-9EE9-4917-8732-47ADDE1CE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5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7648504-9EE9-4917-8732-47ADDE1CE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5F3A929-EAE7-4D1B-9845-273796770D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518219"/>
          </a:xfrm>
        </p:spPr>
        <p:txBody>
          <a:bodyPr/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0643" y="3251553"/>
            <a:ext cx="13198980" cy="6342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42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42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42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053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053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857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D607360-2403-48CB-B422-C21281360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6D607360-2403-48CB-B422-C21281360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071AEA3-A10A-4859-BC41-31E2E7B5E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7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2" y="1"/>
            <a:ext cx="5874159" cy="1069385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563" tIns="69782" rIns="139563" bIns="697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961557" y="2407566"/>
            <a:ext cx="4166138" cy="233198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4274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82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1351675" y="4159550"/>
            <a:ext cx="12416915" cy="4990489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1351676" y="2272755"/>
            <a:ext cx="1399837" cy="14311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141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8" y="5966088"/>
            <a:ext cx="13198066" cy="3182288"/>
          </a:xfrm>
        </p:spPr>
        <p:txBody>
          <a:bodyPr anchor="t">
            <a:noAutofit/>
          </a:bodyPr>
          <a:lstStyle>
            <a:lvl1pPr>
              <a:defRPr sz="671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961558" y="5737247"/>
            <a:ext cx="1415779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" name="Picture 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64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682946"/>
              </p:ext>
            </p:ext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4884" b="1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="" xmlns:a16="http://schemas.microsoft.com/office/drawing/2014/main" id="{46737ADC-79DD-4520-8DE6-FE11FE7E14B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48976" y="-1"/>
            <a:ext cx="11070374" cy="10691796"/>
          </a:xfrm>
          <a:custGeom>
            <a:avLst/>
            <a:gdLst>
              <a:gd name="connsiteX0" fmla="*/ 0 w 7253164"/>
              <a:gd name="connsiteY0" fmla="*/ 0 h 6857989"/>
              <a:gd name="connsiteX1" fmla="*/ 7253164 w 7253164"/>
              <a:gd name="connsiteY1" fmla="*/ 0 h 6857989"/>
              <a:gd name="connsiteX2" fmla="*/ 7253164 w 7253164"/>
              <a:gd name="connsiteY2" fmla="*/ 6857989 h 6857989"/>
              <a:gd name="connsiteX3" fmla="*/ 0 w 7253164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53164" h="6857989">
                <a:moveTo>
                  <a:pt x="0" y="0"/>
                </a:moveTo>
                <a:lnTo>
                  <a:pt x="7253164" y="0"/>
                </a:lnTo>
                <a:lnTo>
                  <a:pt x="7253164" y="6857989"/>
                </a:lnTo>
                <a:lnTo>
                  <a:pt x="0" y="6857989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D4F1022C-A41F-4F64-A704-343E6666F2DE}"/>
              </a:ext>
            </a:extLst>
          </p:cNvPr>
          <p:cNvSpPr/>
          <p:nvPr userDrawn="1"/>
        </p:nvSpPr>
        <p:spPr>
          <a:xfrm>
            <a:off x="4996400" y="0"/>
            <a:ext cx="10122950" cy="10691813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563" tIns="69782" rIns="139563" bIns="6978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2" dirty="0">
              <a:solidFill>
                <a:srgbClr val="FFFFFF"/>
              </a:solidFill>
            </a:endParaRPr>
          </a:p>
        </p:txBody>
      </p:sp>
      <p:sp>
        <p:nvSpPr>
          <p:cNvPr id="13" name="Freeform: Shape 17">
            <a:extLst>
              <a:ext uri="{FF2B5EF4-FFF2-40B4-BE49-F238E27FC236}">
                <a16:creationId xmlns="" xmlns:a16="http://schemas.microsoft.com/office/drawing/2014/main" id="{04AA2C2B-E2E3-4DBA-8327-F6BEE1554F6A}"/>
              </a:ext>
            </a:extLst>
          </p:cNvPr>
          <p:cNvSpPr/>
          <p:nvPr userDrawn="1"/>
        </p:nvSpPr>
        <p:spPr>
          <a:xfrm flipV="1">
            <a:off x="1" y="0"/>
            <a:ext cx="8888848" cy="10691813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13395" tIns="113395" rIns="113395" bIns="113395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737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9528D4DA-5E9B-430B-A0DA-C5897F60E0DC}"/>
              </a:ext>
            </a:extLst>
          </p:cNvPr>
          <p:cNvCxnSpPr/>
          <p:nvPr userDrawn="1"/>
        </p:nvCxnSpPr>
        <p:spPr>
          <a:xfrm>
            <a:off x="960639" y="8010842"/>
            <a:ext cx="2238827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60639" y="8448318"/>
            <a:ext cx="6380969" cy="438947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2747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348912" indent="0" algn="ctr">
              <a:buNone/>
              <a:defRPr/>
            </a:lvl4pPr>
            <a:lvl5pPr marL="697824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60639" y="6859426"/>
            <a:ext cx="6380967" cy="71395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4884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51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5965360"/>
            <a:ext cx="13198066" cy="2504656"/>
          </a:xfrm>
        </p:spPr>
        <p:txBody>
          <a:bodyPr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E78362B0-A499-894D-8E5D-AE1060815A76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20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9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27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107016" y="0"/>
            <a:ext cx="637375" cy="10691813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0"/>
            <a:ext cx="5125016" cy="1069181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961558" y="4179914"/>
            <a:ext cx="3776213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74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Page">
            <a:extLst>
              <a:ext uri="{FF2B5EF4-FFF2-40B4-BE49-F238E27FC236}">
                <a16:creationId xmlns="" xmlns:a16="http://schemas.microsoft.com/office/drawing/2014/main" id="{890D95DF-6915-844A-BF3B-ADA207EA191E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08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5C789F0D-C9AE-4DB8-AC61-09A2F9CD6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2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5C789F0D-C9AE-4DB8-AC61-09A2F9CD6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0835607-9670-40A0-9258-C63E2618CC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8860945" y="0"/>
            <a:ext cx="637375" cy="10691813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2" y="0"/>
            <a:ext cx="8870336" cy="1069181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52424" cy="518219"/>
          </a:xfrm>
          <a:prstGeom prst="rect">
            <a:avLst/>
          </a:prstGeom>
        </p:spPr>
        <p:txBody>
          <a:bodyPr/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Page">
            <a:extLst>
              <a:ext uri="{FF2B5EF4-FFF2-40B4-BE49-F238E27FC236}">
                <a16:creationId xmlns="" xmlns:a16="http://schemas.microsoft.com/office/drawing/2014/main" id="{78157CFC-01A7-7B4A-9754-A82D606274D0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677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B2F95115-8B57-4F88-8964-CA3AE86C74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4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B2F95115-8B57-4F88-8964-CA3AE86C7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E20BE0D-CC3D-4E97-82BD-3AC2C48A27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27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892839" y="0"/>
            <a:ext cx="636385" cy="10691813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4529224" y="-2040"/>
            <a:ext cx="10590127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030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6935363" y="0"/>
            <a:ext cx="637375" cy="10691813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7559675" y="0"/>
            <a:ext cx="7559675" cy="1069181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558759" y="0"/>
            <a:ext cx="7560591" cy="1069181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747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21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961557" y="2783800"/>
            <a:ext cx="5294903" cy="5124213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88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8334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9D654D1C-C99D-423A-A91A-875BAA856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7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9D654D1C-C99D-423A-A91A-875BAA85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3FA805A-41AA-43DA-93B3-A21C8726BA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7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0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961559" y="4178507"/>
            <a:ext cx="3028601" cy="2334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74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age">
            <a:extLst>
              <a:ext uri="{FF2B5EF4-FFF2-40B4-BE49-F238E27FC236}">
                <a16:creationId xmlns="" xmlns:a16="http://schemas.microsoft.com/office/drawing/2014/main" id="{D322FDE0-8942-E245-BCAA-08AB4BBB73FC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572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-956603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961559" y="4178505"/>
            <a:ext cx="3028601" cy="2334800"/>
          </a:xfrm>
        </p:spPr>
        <p:txBody>
          <a:bodyPr anchor="ctr" anchorCtr="0">
            <a:noAutofit/>
          </a:bodyPr>
          <a:lstStyle>
            <a:lvl1pPr>
              <a:defRPr sz="4274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1250378" y="5305104"/>
            <a:ext cx="4112820" cy="5396957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5763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7E1E3A5-2541-4EE2-B1CD-3FA262A75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9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37E1E3A5-2541-4EE2-B1CD-3FA262A75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EEB5D7A0-FF97-4010-962F-980563A2C0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8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8" y="2783800"/>
            <a:ext cx="4903944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84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4343" y="5291952"/>
            <a:ext cx="1981992" cy="5568653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age">
            <a:extLst>
              <a:ext uri="{FF2B5EF4-FFF2-40B4-BE49-F238E27FC236}">
                <a16:creationId xmlns="" xmlns:a16="http://schemas.microsoft.com/office/drawing/2014/main" id="{AE1F6367-78D2-DB46-9E09-6B4872DC0098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25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8" y="2783800"/>
            <a:ext cx="4903944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8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85538" y="5326107"/>
            <a:ext cx="4112820" cy="5365706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45320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2FA6E58-42C2-4A8B-A308-104370CC4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1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2FA6E58-42C2-4A8B-A308-104370CC4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74C4ECC-66C3-4F53-B939-1BCA1A8E2E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5642894" cy="51821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3983" y="5596296"/>
            <a:ext cx="2083757" cy="527413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age">
            <a:extLst>
              <a:ext uri="{FF2B5EF4-FFF2-40B4-BE49-F238E27FC236}">
                <a16:creationId xmlns="" xmlns:a16="http://schemas.microsoft.com/office/drawing/2014/main" id="{6011CEE0-B3C0-F443-8D4A-0CAB08700A87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433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37AE0A9-967E-4DE8-9322-59BBA1977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4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37AE0A9-967E-4DE8-9322-59BBA1977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4B432D4-EAEF-439C-8BD0-5D5F9A5A3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5642894" cy="51821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663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5062923" y="5312861"/>
            <a:ext cx="4112820" cy="538885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6951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F3D2C4E-5C0D-41F0-B61A-EC084746F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43D080A-FBC1-4863-B3F6-1F9864D67F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71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5965360"/>
            <a:ext cx="13198066" cy="250465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961558" y="975133"/>
            <a:ext cx="1400695" cy="1431188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61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778B4846-5D34-40B4-A5DC-B6A52EE49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6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778B4846-5D34-40B4-A5DC-B6A52EE49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91BC137-0B7C-4682-9520-108DA2F85E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52424" cy="518219"/>
          </a:xfrm>
        </p:spPr>
        <p:txBody>
          <a:bodyPr/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4562" y="5596296"/>
            <a:ext cx="2083757" cy="527413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412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BA8F6F6A-A66E-4A7D-B36D-992137A4C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BA8F6F6A-A66E-4A7D-B36D-992137A4C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BE233755-136D-4B2A-B720-37D0D76AA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52424" cy="518219"/>
          </a:xfrm>
        </p:spPr>
        <p:txBody>
          <a:bodyPr/>
          <a:lstStyle>
            <a:lvl1pPr>
              <a:defRPr sz="3663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7509009" y="5312861"/>
            <a:ext cx="4112820" cy="538885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5447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5965360"/>
            <a:ext cx="13198066" cy="2504656"/>
          </a:xfrm>
        </p:spPr>
        <p:txBody>
          <a:bodyPr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" name="Page">
            <a:extLst>
              <a:ext uri="{FF2B5EF4-FFF2-40B4-BE49-F238E27FC236}">
                <a16:creationId xmlns="" xmlns:a16="http://schemas.microsoft.com/office/drawing/2014/main" id="{E78362B0-A499-894D-8E5D-AE1060815A76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2721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F3D2C4E-5C0D-41F0-B61A-EC084746F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1F3D2C4E-5C0D-41F0-B61A-EC084746F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43D080A-FBC1-4863-B3F6-1F9864D67F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71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5965360"/>
            <a:ext cx="13198066" cy="250465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961558" y="975133"/>
            <a:ext cx="1400695" cy="1431188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718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Bubble"/>
          <p:cNvGrpSpPr/>
          <p:nvPr userDrawn="1"/>
        </p:nvGrpSpPr>
        <p:grpSpPr>
          <a:xfrm>
            <a:off x="2" y="1"/>
            <a:ext cx="15119347" cy="9135724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4229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4229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8563295" y="2102213"/>
            <a:ext cx="1199293" cy="11912816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4101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5869E05E-F5C3-4EFB-97F7-778343B7FD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5869E05E-F5C3-4EFB-97F7-778343B7FD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A85A8014-AB13-41A4-8579-0BDA85E16A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 bwMode="white">
          <a:xfrm>
            <a:off x="13665109" y="9989746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518219"/>
          </a:xfrm>
        </p:spPr>
        <p:txBody>
          <a:bodyPr/>
          <a:lstStyle>
            <a:lvl1pPr>
              <a:defRPr sz="366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9515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222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>
            <a:extLst>
              <a:ext uri="{FF2B5EF4-FFF2-40B4-BE49-F238E27FC236}">
                <a16:creationId xmlns="" xmlns:a16="http://schemas.microsoft.com/office/drawing/2014/main" id="{9C9735F5-017A-3943-BBF4-CBBE88AEB8A8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4041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5" y="2477"/>
          <a:ext cx="242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6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25" y="2477"/>
                        <a:ext cx="242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lue&#10;&#10;Description automatically generated">
            <a:extLst>
              <a:ext uri="{FF2B5EF4-FFF2-40B4-BE49-F238E27FC236}">
                <a16:creationId xmlns="" xmlns:a16="http://schemas.microsoft.com/office/drawing/2014/main" id="{401C23A7-9009-40D1-90C5-392FCEDA5A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1"/>
            <a:ext cx="11482292" cy="10691811"/>
          </a:xfrm>
          <a:custGeom>
            <a:avLst/>
            <a:gdLst>
              <a:gd name="connsiteX0" fmla="*/ 0 w 7523047"/>
              <a:gd name="connsiteY0" fmla="*/ 0 h 6857999"/>
              <a:gd name="connsiteX1" fmla="*/ 7523047 w 7523047"/>
              <a:gd name="connsiteY1" fmla="*/ 0 h 6857999"/>
              <a:gd name="connsiteX2" fmla="*/ 7523047 w 7523047"/>
              <a:gd name="connsiteY2" fmla="*/ 6857999 h 6857999"/>
              <a:gd name="connsiteX3" fmla="*/ 0 w 7523047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23047" h="6857999">
                <a:moveTo>
                  <a:pt x="0" y="0"/>
                </a:moveTo>
                <a:lnTo>
                  <a:pt x="7523047" y="0"/>
                </a:lnTo>
                <a:lnTo>
                  <a:pt x="7523047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6" name="Freeform: Shape 17">
            <a:extLst>
              <a:ext uri="{FF2B5EF4-FFF2-40B4-BE49-F238E27FC236}">
                <a16:creationId xmlns="" xmlns:a16="http://schemas.microsoft.com/office/drawing/2014/main" id="{04AA2C2B-E2E3-4DBA-8327-F6BEE1554F6A}"/>
              </a:ext>
            </a:extLst>
          </p:cNvPr>
          <p:cNvSpPr/>
          <p:nvPr userDrawn="1"/>
        </p:nvSpPr>
        <p:spPr>
          <a:xfrm flipH="1">
            <a:off x="6230503" y="0"/>
            <a:ext cx="8888848" cy="10691813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13395" tIns="113395" rIns="113395" bIns="113395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737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4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" name="Рисунок 90">
            <a:extLst>
              <a:ext uri="{FF2B5EF4-FFF2-40B4-BE49-F238E27FC236}">
                <a16:creationId xmlns="" xmlns:a16="http://schemas.microsoft.com/office/drawing/2014/main" id="{4078F789-193A-452C-A23D-73B351F62D6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/>
          <a:stretch>
            <a:fillRect/>
          </a:stretch>
        </p:blipFill>
        <p:spPr>
          <a:xfrm>
            <a:off x="9283535" y="3871326"/>
            <a:ext cx="4914382" cy="199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00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5" y="2477"/>
          <a:ext cx="242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8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25" y="2477"/>
                        <a:ext cx="242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782F3149-8CEE-4A6B-AF61-491C73DD7289}"/>
              </a:ext>
            </a:extLst>
          </p:cNvPr>
          <p:cNvSpPr/>
          <p:nvPr userDrawn="1"/>
        </p:nvSpPr>
        <p:spPr>
          <a:xfrm flipH="1">
            <a:off x="0" y="0"/>
            <a:ext cx="15119350" cy="10691813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pic>
        <p:nvPicPr>
          <p:cNvPr id="11" name="Picture 10" descr="A picture containing blue&#10;&#10;Description automatically generated">
            <a:extLst>
              <a:ext uri="{FF2B5EF4-FFF2-40B4-BE49-F238E27FC236}">
                <a16:creationId xmlns="" xmlns:a16="http://schemas.microsoft.com/office/drawing/2014/main" id="{D21B950A-313B-4598-856E-DAA979C1C5D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783"/>
          <a:stretch>
            <a:fillRect/>
          </a:stretch>
        </p:blipFill>
        <p:spPr>
          <a:xfrm>
            <a:off x="2" y="1"/>
            <a:ext cx="10244207" cy="10691794"/>
          </a:xfrm>
          <a:custGeom>
            <a:avLst/>
            <a:gdLst>
              <a:gd name="connsiteX0" fmla="*/ 0 w 10244207"/>
              <a:gd name="connsiteY0" fmla="*/ 0 h 10691794"/>
              <a:gd name="connsiteX1" fmla="*/ 8146217 w 10244207"/>
              <a:gd name="connsiteY1" fmla="*/ 0 h 10691794"/>
              <a:gd name="connsiteX2" fmla="*/ 8353793 w 10244207"/>
              <a:gd name="connsiteY2" fmla="*/ 239634 h 10691794"/>
              <a:gd name="connsiteX3" fmla="*/ 10244207 w 10244207"/>
              <a:gd name="connsiteY3" fmla="*/ 5505551 h 10691794"/>
              <a:gd name="connsiteX4" fmla="*/ 8599556 w 10244207"/>
              <a:gd name="connsiteY4" fmla="*/ 10458731 h 10691794"/>
              <a:gd name="connsiteX5" fmla="*/ 8416404 w 10244207"/>
              <a:gd name="connsiteY5" fmla="*/ 10691794 h 10691794"/>
              <a:gd name="connsiteX6" fmla="*/ 0 w 10244207"/>
              <a:gd name="connsiteY6" fmla="*/ 10691794 h 1069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44207" h="10691794">
                <a:moveTo>
                  <a:pt x="0" y="0"/>
                </a:moveTo>
                <a:lnTo>
                  <a:pt x="8146217" y="0"/>
                </a:lnTo>
                <a:lnTo>
                  <a:pt x="8353793" y="239634"/>
                </a:lnTo>
                <a:cubicBezTo>
                  <a:pt x="9534774" y="1670653"/>
                  <a:pt x="10244207" y="3505254"/>
                  <a:pt x="10244207" y="5505551"/>
                </a:cubicBezTo>
                <a:cubicBezTo>
                  <a:pt x="10244207" y="7362971"/>
                  <a:pt x="9632502" y="9077518"/>
                  <a:pt x="8599556" y="10458731"/>
                </a:cubicBezTo>
                <a:lnTo>
                  <a:pt x="8416404" y="10691794"/>
                </a:lnTo>
                <a:lnTo>
                  <a:pt x="0" y="10691794"/>
                </a:lnTo>
                <a:close/>
              </a:path>
            </a:pathLst>
          </a:custGeom>
        </p:spPr>
      </p:pic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73AB9980-E2C5-4E1C-A71F-816D84D50AAF}"/>
              </a:ext>
            </a:extLst>
          </p:cNvPr>
          <p:cNvSpPr/>
          <p:nvPr userDrawn="1"/>
        </p:nvSpPr>
        <p:spPr>
          <a:xfrm flipH="1">
            <a:off x="6604914" y="0"/>
            <a:ext cx="8514436" cy="10691813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pic>
        <p:nvPicPr>
          <p:cNvPr id="4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" name="Picture 276" descr="Заказ выписок ЕГРН из Росреестра.">
            <a:extLst>
              <a:ext uri="{FF2B5EF4-FFF2-40B4-BE49-F238E27FC236}">
                <a16:creationId xmlns="" xmlns:a16="http://schemas.microsoft.com/office/drawing/2014/main" id="{864ABD1C-5043-43C9-B317-81E9FEFF87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8121" y="4612121"/>
            <a:ext cx="969761" cy="1467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="" xmlns:a16="http://schemas.microsoft.com/office/drawing/2014/main" id="{DBEBBFD1-3577-49A7-A021-E42B328B34F0}"/>
              </a:ext>
            </a:extLst>
          </p:cNvPr>
          <p:cNvSpPr txBox="1">
            <a:spLocks/>
          </p:cNvSpPr>
          <p:nvPr userDrawn="1"/>
        </p:nvSpPr>
        <p:spPr>
          <a:xfrm>
            <a:off x="10797742" y="6423789"/>
            <a:ext cx="3585915" cy="7478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13956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53" kern="1200">
                <a:solidFill>
                  <a:srgbClr val="3741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1800" b="1" dirty="0">
                <a:solidFill>
                  <a:srgbClr val="FFFFFF"/>
                </a:solidFill>
              </a:rPr>
              <a:t>Федеральная служба</a:t>
            </a:r>
            <a:br>
              <a:rPr lang="ru-RU" sz="1800" b="1" dirty="0">
                <a:solidFill>
                  <a:srgbClr val="FFFFFF"/>
                </a:solidFill>
              </a:rPr>
            </a:br>
            <a:r>
              <a:rPr lang="ru-RU" sz="1800" b="1" dirty="0">
                <a:solidFill>
                  <a:srgbClr val="FFFFFF"/>
                </a:solidFill>
              </a:rPr>
              <a:t>государственной регистрации, кадастра и картографии</a:t>
            </a:r>
            <a:endParaRPr lang="en-US" sz="1050" b="1" dirty="0">
              <a:solidFill>
                <a:srgbClr val="FFFFFF"/>
              </a:solidFill>
            </a:endParaRPr>
          </a:p>
        </p:txBody>
      </p:sp>
      <p:pic>
        <p:nvPicPr>
          <p:cNvPr id="386073" name="Picture 25">
            <a:extLst>
              <a:ext uri="{FF2B5EF4-FFF2-40B4-BE49-F238E27FC236}">
                <a16:creationId xmlns="" xmlns:a16="http://schemas.microsoft.com/office/drawing/2014/main" id="{E6988F37-F45A-4ECA-83A1-5A8C6B28374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59" t="7906" b="64627"/>
          <a:stretch/>
        </p:blipFill>
        <p:spPr bwMode="auto">
          <a:xfrm>
            <a:off x="11607721" y="5722098"/>
            <a:ext cx="2523297" cy="401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075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Bubble"/>
          <p:cNvGrpSpPr/>
          <p:nvPr userDrawn="1"/>
        </p:nvGrpSpPr>
        <p:grpSpPr>
          <a:xfrm>
            <a:off x="2" y="1"/>
            <a:ext cx="15119347" cy="9135724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4229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4229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8563295" y="2102213"/>
            <a:ext cx="1199293" cy="11912816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0809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12077162" y="9985629"/>
            <a:ext cx="1576956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52" name="A4Grid"/>
          <p:cNvGrpSpPr/>
          <p:nvPr userDrawn="1"/>
        </p:nvGrpSpPr>
        <p:grpSpPr>
          <a:xfrm>
            <a:off x="0" y="0"/>
            <a:ext cx="15119350" cy="10691813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32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3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2" dirty="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2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526"/>
                </a:spcAft>
              </a:pPr>
              <a:endParaRPr lang="en-US" sz="183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154022"/>
              <a:ext cx="7283401" cy="40667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8673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1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05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422808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4" name="Picture 2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5" name="Picture 2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6" name="Picture 2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7" name="Picture 2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8" name="Picture 2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9" name="Picture 2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0" name="Picture 2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1" name="Picture 3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2" name="Picture 3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3" name="Picture 32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4" name="Picture 3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5" name="Picture 3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6" name="Picture 3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7" name="Picture 3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8" name="Picture 3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9" name="Picture 3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0" name="Picture 3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1" name="Picture 4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2" name="Picture 4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21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ED28D44B-4F21-4AA6-8F07-0F8973A6A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3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ED28D44B-4F21-4AA6-8F07-0F8973A6A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E0FA1AA-EFC9-43C2-B04A-C4867F1C8D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5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431849"/>
          </a:xfrm>
        </p:spPr>
        <p:txBody>
          <a:bodyPr/>
          <a:lstStyle>
            <a:lvl1pPr>
              <a:defRPr sz="305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0643" y="3251553"/>
            <a:ext cx="13198980" cy="63259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26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26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26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976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C8EBAB8-5ECC-4C80-BB85-427EA75A2D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6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4C8EBAB8-5ECC-4C80-BB85-427EA75A2D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1863E42-93AF-44F1-A770-4A3F242169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nelGray"/>
          <p:cNvSpPr/>
          <p:nvPr userDrawn="1"/>
        </p:nvSpPr>
        <p:spPr bwMode="white">
          <a:xfrm>
            <a:off x="1" y="-2040"/>
            <a:ext cx="5873744" cy="1069385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563" tIns="69782" rIns="139563" bIns="697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961558" y="3365923"/>
            <a:ext cx="4514132" cy="8445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42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697824" indent="0" algn="ctr">
              <a:buNone/>
              <a:defRPr sz="3053"/>
            </a:lvl2pPr>
            <a:lvl3pPr marL="1395649" indent="0" algn="ctr">
              <a:buNone/>
              <a:defRPr sz="2747"/>
            </a:lvl3pPr>
            <a:lvl4pPr marL="2093473" indent="0" algn="ctr">
              <a:buNone/>
              <a:defRPr sz="2442"/>
            </a:lvl4pPr>
            <a:lvl5pPr marL="2791297" indent="0" algn="ctr">
              <a:buNone/>
              <a:defRPr sz="2442"/>
            </a:lvl5pPr>
            <a:lvl6pPr marL="3489122" indent="0" algn="ctr">
              <a:buNone/>
              <a:defRPr sz="2442"/>
            </a:lvl6pPr>
            <a:lvl7pPr marL="4186946" indent="0" algn="ctr">
              <a:buNone/>
              <a:defRPr sz="2442"/>
            </a:lvl7pPr>
            <a:lvl8pPr marL="4884771" indent="0" algn="ctr">
              <a:buNone/>
              <a:defRPr sz="2442"/>
            </a:lvl8pPr>
            <a:lvl9pPr marL="5582595" indent="0" algn="ctr">
              <a:buNone/>
              <a:defRPr sz="2442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1913004"/>
            <a:ext cx="4514132" cy="1036437"/>
          </a:xfrm>
        </p:spPr>
        <p:txBody>
          <a:bodyPr anchor="t">
            <a:noAutofit/>
          </a:bodyPr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68297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351675" y="4159550"/>
            <a:ext cx="12417831" cy="4990489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1351676" y="2272755"/>
            <a:ext cx="1399182" cy="1431188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26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8" y="5966088"/>
            <a:ext cx="13198066" cy="3182288"/>
          </a:xfrm>
        </p:spPr>
        <p:txBody>
          <a:bodyPr anchor="t">
            <a:noAutofit/>
          </a:bodyPr>
          <a:lstStyle>
            <a:lvl1pPr>
              <a:defRPr sz="6716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961558" y="5741588"/>
            <a:ext cx="14159624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064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16DB845-D642-43C7-8535-E3B464D96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8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216DB845-D642-43C7-8535-E3B464D96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317B321-735F-44DA-8D89-0650102D35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107016" y="0"/>
            <a:ext cx="637375" cy="10691813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0"/>
            <a:ext cx="512501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179914"/>
            <a:ext cx="3774801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3914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C5399BC-ACDA-449D-BB5F-CC277456B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0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1C5399BC-ACDA-449D-BB5F-CC277456B3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54244749-BF85-4373-908E-95B2E371CF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8860945" y="0"/>
            <a:ext cx="637375" cy="10691813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2" y="0"/>
            <a:ext cx="887033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44980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271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0C77578-97C6-4148-91B9-EF51C7DEE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3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E0C77578-97C6-4148-91B9-EF51C7DEE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8D10392-52A3-49EB-A52C-33391550D8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11112133" y="0"/>
            <a:ext cx="637375" cy="10691813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0" y="0"/>
            <a:ext cx="1112152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8" y="970963"/>
            <a:ext cx="9808838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7566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491478" y="0"/>
            <a:ext cx="63638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5129531" y="-2040"/>
            <a:ext cx="9989820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179914"/>
            <a:ext cx="3774801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6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Page">
            <a:extLst>
              <a:ext uri="{FF2B5EF4-FFF2-40B4-BE49-F238E27FC236}">
                <a16:creationId xmlns="" xmlns:a16="http://schemas.microsoft.com/office/drawing/2014/main" id="{CE2C4E73-6171-644D-AD02-BE38BDD7B64B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94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5869E05E-F5C3-4EFB-97F7-778343B7FD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A85A8014-AB13-41A4-8579-0BDA85E16A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 bwMode="white">
          <a:xfrm>
            <a:off x="13665109" y="9989746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518219"/>
          </a:xfrm>
        </p:spPr>
        <p:txBody>
          <a:bodyPr/>
          <a:lstStyle>
            <a:lvl1pPr>
              <a:defRPr sz="366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845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6935363" y="0"/>
            <a:ext cx="63737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7559675" y="0"/>
            <a:ext cx="7559675" cy="10691813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558759" y="0"/>
            <a:ext cx="7560591" cy="1069181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747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21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8" y="2783800"/>
            <a:ext cx="5296809" cy="5124213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88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4260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9015911" y="0"/>
            <a:ext cx="63638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9641218" y="0"/>
            <a:ext cx="5478132" cy="10691813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9643050" y="0"/>
            <a:ext cx="5476300" cy="10691813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2747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21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961557" y="2783800"/>
            <a:ext cx="754960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8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6649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FDD86A1-0D80-4D5D-9955-947D5C604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CFDD86A1-0D80-4D5D-9955-947D5C604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B014008-40B7-444A-B787-756535FCC5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0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961558" y="4321385"/>
            <a:ext cx="3027533" cy="20490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6992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0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321385"/>
            <a:ext cx="3027533" cy="2049047"/>
          </a:xfrm>
        </p:spPr>
        <p:txBody>
          <a:bodyPr anchor="ctr" anchorCtr="0">
            <a:noAutofit/>
          </a:bodyPr>
          <a:lstStyle>
            <a:lvl1pPr>
              <a:defRPr sz="4274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206981" y="5305104"/>
            <a:ext cx="4112820" cy="5396957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47681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7E35D50-D996-444A-8FD0-7DBE027B6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81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C7E35D50-D996-444A-8FD0-7DBE027B6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ABC10EC-028B-4409-BC2E-3975D53D2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8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2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2783800"/>
            <a:ext cx="490669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84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4343" y="5291952"/>
            <a:ext cx="1981992" cy="5568653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6123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2783800"/>
            <a:ext cx="490669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8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85538" y="5326107"/>
            <a:ext cx="4112820" cy="5365706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8915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42367645-74E2-459A-BE9A-64DF24D64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61559" y="970963"/>
            <a:ext cx="5642894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3983" y="5596296"/>
            <a:ext cx="2083757" cy="527413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6295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4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61559" y="970963"/>
            <a:ext cx="5642894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5062923" y="5312861"/>
            <a:ext cx="4112820" cy="538885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5276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0123D111-C99F-4588-B064-E7EA60241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29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0123D111-C99F-4588-B064-E7EA60241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46B26778-A0D0-4E1F-B2D3-38247D6591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52424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4562" y="5596296"/>
            <a:ext cx="2083757" cy="527413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607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52424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7509009" y="5312861"/>
            <a:ext cx="4112820" cy="538885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239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470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5965360"/>
            <a:ext cx="13198066" cy="2504656"/>
          </a:xfrm>
        </p:spPr>
        <p:txBody>
          <a:bodyPr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98523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4C4DA86-0B4D-473B-A8D5-F01B0F7DF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53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D4C4DA86-0B4D-473B-A8D5-F01B0F7DF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02ABC3C-A083-42EB-84D3-16BA28606C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71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5965360"/>
            <a:ext cx="13198066" cy="250465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961558" y="970962"/>
            <a:ext cx="1400695" cy="1431188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40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9" name="Bubble"/>
          <p:cNvGrpSpPr/>
          <p:nvPr userDrawn="1"/>
        </p:nvGrpSpPr>
        <p:grpSpPr>
          <a:xfrm>
            <a:off x="2" y="1"/>
            <a:ext cx="15119347" cy="9135724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4229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4229" dirty="0">
                <a:solidFill>
                  <a:schemeClr val="tx1"/>
                </a:solidFill>
                <a:latin typeface="+mn-lt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8563295" y="2102213"/>
            <a:ext cx="1199293" cy="11912816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3136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13665109" y="9989746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42280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1343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White"/>
          <p:cNvSpPr/>
          <p:nvPr userDrawn="1"/>
        </p:nvSpPr>
        <p:spPr bwMode="ltGray">
          <a:xfrm>
            <a:off x="0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944276" y="4288471"/>
            <a:ext cx="3395672" cy="21148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1068"/>
              </a:spcAft>
              <a:buFontTx/>
              <a:buNone/>
            </a:pPr>
            <a:r>
              <a:rPr lang="en-US" sz="6716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595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729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8" name="Picture 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008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15119350" cy="10691813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32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3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2" dirty="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2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526"/>
                </a:spcAft>
              </a:pPr>
              <a:endParaRPr lang="en-US" sz="183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154022"/>
              <a:ext cx="7283401" cy="40667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62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09" y="9989746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698660" y="7097908"/>
            <a:ext cx="1329697" cy="136013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053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4247116" y="7097908"/>
            <a:ext cx="2005535" cy="204649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838" tIns="27473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053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5"/>
            </p:custDataLst>
          </p:nvPr>
        </p:nvSpPr>
        <p:spPr>
          <a:xfrm>
            <a:off x="961559" y="1425574"/>
            <a:ext cx="5291093" cy="5447831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946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6716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3443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9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09" y="9989746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351677" y="4159550"/>
            <a:ext cx="12416915" cy="4990489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8690" tIns="418690" rIns="418690" bIns="20934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9158"/>
              </a:lnSpc>
            </a:pPr>
            <a:endParaRPr lang="en-US" sz="6716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1351678" y="2272754"/>
            <a:ext cx="1399837" cy="14311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053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950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>
            <a:extLst>
              <a:ext uri="{FF2B5EF4-FFF2-40B4-BE49-F238E27FC236}">
                <a16:creationId xmlns="" xmlns:a16="http://schemas.microsoft.com/office/drawing/2014/main" id="{9C9735F5-017A-3943-BBF4-CBBE88AEB8A8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63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2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09" y="9989746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959497" y="1880189"/>
            <a:ext cx="14159853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959497" y="970963"/>
            <a:ext cx="10973965" cy="7341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4274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9553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491478" y="0"/>
            <a:ext cx="636385" cy="10691813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5129531" y="-2040"/>
            <a:ext cx="9989820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961558" y="4181313"/>
            <a:ext cx="3774801" cy="23348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916"/>
              </a:spcAft>
            </a:pPr>
            <a:r>
              <a:rPr lang="en-US" sz="4274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6836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2698656" y="7097908"/>
            <a:ext cx="1329697" cy="136013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32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4247113" y="7097908"/>
            <a:ext cx="2005535" cy="204649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838" tIns="27473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32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961554" y="1425574"/>
            <a:ext cx="5291093" cy="5447831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946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6716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81867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1351672" y="4159550"/>
            <a:ext cx="12416915" cy="4990489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8690" tIns="418690" rIns="418690" bIns="20934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9158"/>
              </a:lnSpc>
            </a:pPr>
            <a:endParaRPr lang="en-US" sz="6716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1351673" y="2272754"/>
            <a:ext cx="1399837" cy="143118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32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99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1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959497" y="1880186"/>
            <a:ext cx="14159853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959497" y="970961"/>
            <a:ext cx="10973965" cy="7341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3663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958945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491478" y="0"/>
            <a:ext cx="63638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5129531" y="-2040"/>
            <a:ext cx="9989820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961558" y="4181313"/>
            <a:ext cx="3774801" cy="23348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916"/>
              </a:spcAft>
            </a:pPr>
            <a:r>
              <a:rPr lang="en-US" sz="3663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3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0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944276" y="4288471"/>
            <a:ext cx="3395672" cy="21148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1068"/>
              </a:spcAft>
              <a:buFontTx/>
              <a:buNone/>
            </a:pPr>
            <a:r>
              <a:rPr lang="en-US" sz="6716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098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2F6D2B2-BCDD-F44B-A46D-032F4C0C2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89919" y="4433384"/>
            <a:ext cx="11339513" cy="1038746"/>
          </a:xfrm>
        </p:spPr>
        <p:txBody>
          <a:bodyPr anchor="b"/>
          <a:lstStyle>
            <a:lvl1pPr algn="ctr">
              <a:defRPr sz="7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D0582FD8-00D2-AE49-A3B6-EB247B311B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000"/>
            </a:lvl1pPr>
            <a:lvl2pPr marL="571923" indent="0" algn="ctr">
              <a:buNone/>
              <a:defRPr sz="2500"/>
            </a:lvl2pPr>
            <a:lvl3pPr marL="1143846" indent="0" algn="ctr">
              <a:buNone/>
              <a:defRPr sz="2300"/>
            </a:lvl3pPr>
            <a:lvl4pPr marL="1715769" indent="0" algn="ctr">
              <a:buNone/>
              <a:defRPr sz="2000"/>
            </a:lvl4pPr>
            <a:lvl5pPr marL="2287692" indent="0" algn="ctr">
              <a:buNone/>
              <a:defRPr sz="2000"/>
            </a:lvl5pPr>
            <a:lvl6pPr marL="2859615" indent="0" algn="ctr">
              <a:buNone/>
              <a:defRPr sz="2000"/>
            </a:lvl6pPr>
            <a:lvl7pPr marL="3431537" indent="0" algn="ctr">
              <a:buNone/>
              <a:defRPr sz="2000"/>
            </a:lvl7pPr>
            <a:lvl8pPr marL="4003460" indent="0" algn="ctr">
              <a:buNone/>
              <a:defRPr sz="2000"/>
            </a:lvl8pPr>
            <a:lvl9pPr marL="4575383" indent="0" algn="ctr">
              <a:buNone/>
              <a:defRPr sz="20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8D17BA8-CEC1-3B4E-A8E4-1C72D1620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A5038E9-69C7-3A49-A165-15E0C143C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08286" y="9909729"/>
            <a:ext cx="5102781" cy="569240"/>
          </a:xfrm>
          <a:prstGeom prst="rect">
            <a:avLst/>
          </a:prstGeom>
        </p:spPr>
        <p:txBody>
          <a:bodyPr lIns="140781" tIns="70391" rIns="140781" bIns="70391"/>
          <a:lstStyle/>
          <a:p>
            <a:r>
              <a:rPr lang="ru-RU" smtClean="0"/>
              <a:t>1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DCAEF49-FCED-714A-92DA-0B60A5E87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042" y="9909729"/>
            <a:ext cx="3401854" cy="569240"/>
          </a:xfrm>
          <a:prstGeom prst="rect">
            <a:avLst/>
          </a:prstGeom>
        </p:spPr>
        <p:txBody>
          <a:bodyPr lIns="140781" tIns="70391" rIns="140781" bIns="70391"/>
          <a:lstStyle/>
          <a:p>
            <a:fld id="{438F3C6B-AB20-F24E-B142-B6CD49824C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38658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6185494"/>
              </p:ext>
            </p:extLst>
          </p:nvPr>
        </p:nvGraphicFramePr>
        <p:xfrm>
          <a:off x="2425" y="2477"/>
          <a:ext cx="242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0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25" y="2477"/>
                        <a:ext cx="242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lue&#10;&#10;Description automatically generated">
            <a:extLst>
              <a:ext uri="{FF2B5EF4-FFF2-40B4-BE49-F238E27FC236}">
                <a16:creationId xmlns="" xmlns:a16="http://schemas.microsoft.com/office/drawing/2014/main" id="{401C23A7-9009-40D1-90C5-392FCEDA5AD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" y="1"/>
            <a:ext cx="11482292" cy="10691811"/>
          </a:xfrm>
          <a:custGeom>
            <a:avLst/>
            <a:gdLst>
              <a:gd name="connsiteX0" fmla="*/ 0 w 7523047"/>
              <a:gd name="connsiteY0" fmla="*/ 0 h 6857999"/>
              <a:gd name="connsiteX1" fmla="*/ 7523047 w 7523047"/>
              <a:gd name="connsiteY1" fmla="*/ 0 h 6857999"/>
              <a:gd name="connsiteX2" fmla="*/ 7523047 w 7523047"/>
              <a:gd name="connsiteY2" fmla="*/ 6857999 h 6857999"/>
              <a:gd name="connsiteX3" fmla="*/ 0 w 7523047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23047" h="6857999">
                <a:moveTo>
                  <a:pt x="0" y="0"/>
                </a:moveTo>
                <a:lnTo>
                  <a:pt x="7523047" y="0"/>
                </a:lnTo>
                <a:lnTo>
                  <a:pt x="7523047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6" name="Freeform: Shape 17">
            <a:extLst>
              <a:ext uri="{FF2B5EF4-FFF2-40B4-BE49-F238E27FC236}">
                <a16:creationId xmlns="" xmlns:a16="http://schemas.microsoft.com/office/drawing/2014/main" id="{04AA2C2B-E2E3-4DBA-8327-F6BEE1554F6A}"/>
              </a:ext>
            </a:extLst>
          </p:cNvPr>
          <p:cNvSpPr/>
          <p:nvPr userDrawn="1"/>
        </p:nvSpPr>
        <p:spPr>
          <a:xfrm flipH="1">
            <a:off x="6230503" y="0"/>
            <a:ext cx="8888848" cy="10691813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13395" tIns="113395" rIns="113395" bIns="113395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737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4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" name="Рисунок 90">
            <a:extLst>
              <a:ext uri="{FF2B5EF4-FFF2-40B4-BE49-F238E27FC236}">
                <a16:creationId xmlns="" xmlns:a16="http://schemas.microsoft.com/office/drawing/2014/main" id="{4078F789-193A-452C-A23D-73B351F62D6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/>
          <a:stretch>
            <a:fillRect/>
          </a:stretch>
        </p:blipFill>
        <p:spPr>
          <a:xfrm>
            <a:off x="9283535" y="3871326"/>
            <a:ext cx="4914382" cy="1997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44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183053"/>
              </p:ext>
            </p:extLst>
          </p:nvPr>
        </p:nvGraphicFramePr>
        <p:xfrm>
          <a:off x="2425" y="2477"/>
          <a:ext cx="242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25" y="2477"/>
                        <a:ext cx="242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782F3149-8CEE-4A6B-AF61-491C73DD7289}"/>
              </a:ext>
            </a:extLst>
          </p:cNvPr>
          <p:cNvSpPr/>
          <p:nvPr userDrawn="1"/>
        </p:nvSpPr>
        <p:spPr>
          <a:xfrm flipH="1">
            <a:off x="0" y="0"/>
            <a:ext cx="15119350" cy="10691813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pic>
        <p:nvPicPr>
          <p:cNvPr id="11" name="Picture 10" descr="A picture containing blue&#10;&#10;Description automatically generated">
            <a:extLst>
              <a:ext uri="{FF2B5EF4-FFF2-40B4-BE49-F238E27FC236}">
                <a16:creationId xmlns="" xmlns:a16="http://schemas.microsoft.com/office/drawing/2014/main" id="{D21B950A-313B-4598-856E-DAA979C1C5D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783"/>
          <a:stretch>
            <a:fillRect/>
          </a:stretch>
        </p:blipFill>
        <p:spPr>
          <a:xfrm>
            <a:off x="2" y="1"/>
            <a:ext cx="10244207" cy="10691794"/>
          </a:xfrm>
          <a:custGeom>
            <a:avLst/>
            <a:gdLst>
              <a:gd name="connsiteX0" fmla="*/ 0 w 10244207"/>
              <a:gd name="connsiteY0" fmla="*/ 0 h 10691794"/>
              <a:gd name="connsiteX1" fmla="*/ 8146217 w 10244207"/>
              <a:gd name="connsiteY1" fmla="*/ 0 h 10691794"/>
              <a:gd name="connsiteX2" fmla="*/ 8353793 w 10244207"/>
              <a:gd name="connsiteY2" fmla="*/ 239634 h 10691794"/>
              <a:gd name="connsiteX3" fmla="*/ 10244207 w 10244207"/>
              <a:gd name="connsiteY3" fmla="*/ 5505551 h 10691794"/>
              <a:gd name="connsiteX4" fmla="*/ 8599556 w 10244207"/>
              <a:gd name="connsiteY4" fmla="*/ 10458731 h 10691794"/>
              <a:gd name="connsiteX5" fmla="*/ 8416404 w 10244207"/>
              <a:gd name="connsiteY5" fmla="*/ 10691794 h 10691794"/>
              <a:gd name="connsiteX6" fmla="*/ 0 w 10244207"/>
              <a:gd name="connsiteY6" fmla="*/ 10691794 h 1069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44207" h="10691794">
                <a:moveTo>
                  <a:pt x="0" y="0"/>
                </a:moveTo>
                <a:lnTo>
                  <a:pt x="8146217" y="0"/>
                </a:lnTo>
                <a:lnTo>
                  <a:pt x="8353793" y="239634"/>
                </a:lnTo>
                <a:cubicBezTo>
                  <a:pt x="9534774" y="1670653"/>
                  <a:pt x="10244207" y="3505254"/>
                  <a:pt x="10244207" y="5505551"/>
                </a:cubicBezTo>
                <a:cubicBezTo>
                  <a:pt x="10244207" y="7362971"/>
                  <a:pt x="9632502" y="9077518"/>
                  <a:pt x="8599556" y="10458731"/>
                </a:cubicBezTo>
                <a:lnTo>
                  <a:pt x="8416404" y="10691794"/>
                </a:lnTo>
                <a:lnTo>
                  <a:pt x="0" y="10691794"/>
                </a:lnTo>
                <a:close/>
              </a:path>
            </a:pathLst>
          </a:custGeom>
        </p:spPr>
      </p:pic>
      <p:sp>
        <p:nvSpPr>
          <p:cNvPr id="8" name="Freeform: Shape 7">
            <a:extLst>
              <a:ext uri="{FF2B5EF4-FFF2-40B4-BE49-F238E27FC236}">
                <a16:creationId xmlns="" xmlns:a16="http://schemas.microsoft.com/office/drawing/2014/main" id="{73AB9980-E2C5-4E1C-A71F-816D84D50AAF}"/>
              </a:ext>
            </a:extLst>
          </p:cNvPr>
          <p:cNvSpPr/>
          <p:nvPr userDrawn="1"/>
        </p:nvSpPr>
        <p:spPr>
          <a:xfrm flipH="1">
            <a:off x="6604914" y="0"/>
            <a:ext cx="8514436" cy="10691813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err="1">
              <a:solidFill>
                <a:srgbClr val="FFFFFF"/>
              </a:solidFill>
            </a:endParaRPr>
          </a:p>
        </p:txBody>
      </p:sp>
      <p:pic>
        <p:nvPicPr>
          <p:cNvPr id="4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12" name="Picture 276" descr="Заказ выписок ЕГРН из Росреестра.">
            <a:extLst>
              <a:ext uri="{FF2B5EF4-FFF2-40B4-BE49-F238E27FC236}">
                <a16:creationId xmlns="" xmlns:a16="http://schemas.microsoft.com/office/drawing/2014/main" id="{864ABD1C-5043-43C9-B317-81E9FEFF87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8121" y="4612121"/>
            <a:ext cx="969761" cy="1467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4">
            <a:extLst>
              <a:ext uri="{FF2B5EF4-FFF2-40B4-BE49-F238E27FC236}">
                <a16:creationId xmlns="" xmlns:a16="http://schemas.microsoft.com/office/drawing/2014/main" id="{DBEBBFD1-3577-49A7-A021-E42B328B34F0}"/>
              </a:ext>
            </a:extLst>
          </p:cNvPr>
          <p:cNvSpPr txBox="1">
            <a:spLocks/>
          </p:cNvSpPr>
          <p:nvPr userDrawn="1"/>
        </p:nvSpPr>
        <p:spPr>
          <a:xfrm>
            <a:off x="10797742" y="6423789"/>
            <a:ext cx="3585915" cy="7478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13956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53" kern="1200">
                <a:solidFill>
                  <a:srgbClr val="3741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1800" b="1" dirty="0">
                <a:solidFill>
                  <a:srgbClr val="FFFFFF"/>
                </a:solidFill>
              </a:rPr>
              <a:t>Федеральная служба</a:t>
            </a:r>
            <a:br>
              <a:rPr lang="ru-RU" sz="1800" b="1" dirty="0">
                <a:solidFill>
                  <a:srgbClr val="FFFFFF"/>
                </a:solidFill>
              </a:rPr>
            </a:br>
            <a:r>
              <a:rPr lang="ru-RU" sz="1800" b="1" dirty="0">
                <a:solidFill>
                  <a:srgbClr val="FFFFFF"/>
                </a:solidFill>
              </a:rPr>
              <a:t>государственной регистрации, кадастра и картографии</a:t>
            </a:r>
            <a:endParaRPr lang="en-US" sz="1050" b="1" dirty="0">
              <a:solidFill>
                <a:srgbClr val="FFFFFF"/>
              </a:solidFill>
            </a:endParaRPr>
          </a:p>
        </p:txBody>
      </p:sp>
      <p:pic>
        <p:nvPicPr>
          <p:cNvPr id="386073" name="Picture 25">
            <a:extLst>
              <a:ext uri="{FF2B5EF4-FFF2-40B4-BE49-F238E27FC236}">
                <a16:creationId xmlns="" xmlns:a16="http://schemas.microsoft.com/office/drawing/2014/main" id="{E6988F37-F45A-4ECA-83A1-5A8C6B28374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59" t="7906" b="64627"/>
          <a:stretch/>
        </p:blipFill>
        <p:spPr bwMode="auto">
          <a:xfrm>
            <a:off x="11607721" y="5722098"/>
            <a:ext cx="2523297" cy="401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5886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12077162" y="9985629"/>
            <a:ext cx="1576956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52" name="A4Grid"/>
          <p:cNvGrpSpPr/>
          <p:nvPr userDrawn="1"/>
        </p:nvGrpSpPr>
        <p:grpSpPr>
          <a:xfrm>
            <a:off x="0" y="0"/>
            <a:ext cx="15119350" cy="10691813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32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3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2" dirty="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2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526"/>
                </a:spcAft>
              </a:pPr>
              <a:endParaRPr lang="en-US" sz="183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154022"/>
              <a:ext cx="7283401" cy="40667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4520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9582039"/>
              </p:ext>
            </p:ext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05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422808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4" name="Picture 2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5" name="Picture 2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6" name="Picture 2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7" name="Picture 2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8" name="Picture 2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29" name="Picture 2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0" name="Picture 2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1" name="Picture 3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2" name="Picture 3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3" name="Picture 32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4" name="Picture 3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5" name="Picture 3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6" name="Picture 3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7" name="Picture 3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8" name="Picture 3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39" name="Picture 3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0" name="Picture 3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1" name="Picture 4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42" name="Picture 4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278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BD2686C-F4F7-4B49-9FA7-547747A55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4895549"/>
              </p:ext>
            </p:ext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CBDCE76-2E58-4C33-B825-70B22AB66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518219"/>
          </a:xfrm>
        </p:spPr>
        <p:txBody>
          <a:bodyPr/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28417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ED28D44B-4F21-4AA6-8F07-0F8973A6A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E0FA1AA-EFC9-43C2-B04A-C4867F1C8D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5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431849"/>
          </a:xfrm>
        </p:spPr>
        <p:txBody>
          <a:bodyPr/>
          <a:lstStyle>
            <a:lvl1pPr>
              <a:defRPr sz="305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0643" y="3251553"/>
            <a:ext cx="13198980" cy="63259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26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26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26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7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3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245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C8EBAB8-5ECC-4C80-BB85-427EA75A2D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1863E42-93AF-44F1-A770-4A3F242169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nelGray"/>
          <p:cNvSpPr/>
          <p:nvPr userDrawn="1"/>
        </p:nvSpPr>
        <p:spPr bwMode="white">
          <a:xfrm>
            <a:off x="1" y="-2040"/>
            <a:ext cx="5873744" cy="1069385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563" tIns="69782" rIns="139563" bIns="697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961558" y="3365923"/>
            <a:ext cx="4514132" cy="8445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42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697824" indent="0" algn="ctr">
              <a:buNone/>
              <a:defRPr sz="3053"/>
            </a:lvl2pPr>
            <a:lvl3pPr marL="1395649" indent="0" algn="ctr">
              <a:buNone/>
              <a:defRPr sz="2747"/>
            </a:lvl3pPr>
            <a:lvl4pPr marL="2093473" indent="0" algn="ctr">
              <a:buNone/>
              <a:defRPr sz="2442"/>
            </a:lvl4pPr>
            <a:lvl5pPr marL="2791297" indent="0" algn="ctr">
              <a:buNone/>
              <a:defRPr sz="2442"/>
            </a:lvl5pPr>
            <a:lvl6pPr marL="3489122" indent="0" algn="ctr">
              <a:buNone/>
              <a:defRPr sz="2442"/>
            </a:lvl6pPr>
            <a:lvl7pPr marL="4186946" indent="0" algn="ctr">
              <a:buNone/>
              <a:defRPr sz="2442"/>
            </a:lvl7pPr>
            <a:lvl8pPr marL="4884771" indent="0" algn="ctr">
              <a:buNone/>
              <a:defRPr sz="2442"/>
            </a:lvl8pPr>
            <a:lvl9pPr marL="5582595" indent="0" algn="ctr">
              <a:buNone/>
              <a:defRPr sz="2442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1913004"/>
            <a:ext cx="4514132" cy="1036437"/>
          </a:xfrm>
        </p:spPr>
        <p:txBody>
          <a:bodyPr anchor="t">
            <a:noAutofit/>
          </a:bodyPr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1397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351675" y="4159550"/>
            <a:ext cx="12417831" cy="4990489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1351676" y="2272755"/>
            <a:ext cx="1399182" cy="1431188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12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8" y="5966088"/>
            <a:ext cx="13198066" cy="3182288"/>
          </a:xfrm>
        </p:spPr>
        <p:txBody>
          <a:bodyPr anchor="t">
            <a:noAutofit/>
          </a:bodyPr>
          <a:lstStyle>
            <a:lvl1pPr>
              <a:defRPr sz="6716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961558" y="5741588"/>
            <a:ext cx="14159624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079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16DB845-D642-43C7-8535-E3B464D96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703831"/>
              </p:ext>
            </p:ext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2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317B321-735F-44DA-8D89-0650102D35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107016" y="0"/>
            <a:ext cx="637375" cy="10691813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0"/>
            <a:ext cx="512501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179914"/>
            <a:ext cx="3774801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5004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C5399BC-ACDA-449D-BB5F-CC277456B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54244749-BF85-4373-908E-95B2E371CF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8860945" y="0"/>
            <a:ext cx="637375" cy="10691813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2" y="0"/>
            <a:ext cx="887033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44980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70578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0C77578-97C6-4148-91B9-EF51C7DEE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7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D8D10392-52A3-49EB-A52C-33391550D89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11112133" y="0"/>
            <a:ext cx="637375" cy="10691813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0" y="0"/>
            <a:ext cx="1112152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8" y="970963"/>
            <a:ext cx="9808838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61615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491478" y="0"/>
            <a:ext cx="63638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5129531" y="-2040"/>
            <a:ext cx="9989820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179914"/>
            <a:ext cx="3774801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6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Page">
            <a:extLst>
              <a:ext uri="{FF2B5EF4-FFF2-40B4-BE49-F238E27FC236}">
                <a16:creationId xmlns="" xmlns:a16="http://schemas.microsoft.com/office/drawing/2014/main" id="{CE2C4E73-6171-644D-AD02-BE38BDD7B64B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66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6935363" y="0"/>
            <a:ext cx="63737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7559675" y="0"/>
            <a:ext cx="7559675" cy="10691813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558759" y="0"/>
            <a:ext cx="7560591" cy="1069181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747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21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8" y="2783800"/>
            <a:ext cx="5296809" cy="5124213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88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6320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9015911" y="0"/>
            <a:ext cx="63638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9641218" y="0"/>
            <a:ext cx="5478132" cy="10691813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9643050" y="0"/>
            <a:ext cx="5476300" cy="10691813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2747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21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961557" y="2783800"/>
            <a:ext cx="754960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8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3471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7648504-9EE9-4917-8732-47ADDE1CE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5F3A929-EAE7-4D1B-9845-273796770D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518219"/>
          </a:xfrm>
        </p:spPr>
        <p:txBody>
          <a:bodyPr/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0643" y="3251553"/>
            <a:ext cx="13198980" cy="6342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42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42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42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053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053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2204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FDD86A1-0D80-4D5D-9955-947D5C604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B014008-40B7-444A-B787-756535FCC5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5" name="ArrowPanelWhite"/>
          <p:cNvSpPr/>
          <p:nvPr userDrawn="1"/>
        </p:nvSpPr>
        <p:spPr bwMode="ltGray">
          <a:xfrm>
            <a:off x="0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961558" y="4321385"/>
            <a:ext cx="3027533" cy="204904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129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0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321385"/>
            <a:ext cx="3027533" cy="2049047"/>
          </a:xfrm>
        </p:spPr>
        <p:txBody>
          <a:bodyPr anchor="ctr" anchorCtr="0">
            <a:noAutofit/>
          </a:bodyPr>
          <a:lstStyle>
            <a:lvl1pPr>
              <a:defRPr sz="4274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206981" y="5305104"/>
            <a:ext cx="4112820" cy="5396957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8481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C7E35D50-D996-444A-8FD0-7DBE027B6D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ABC10EC-028B-4409-BC2E-3975D53D27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8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21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2783800"/>
            <a:ext cx="490669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84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4343" y="5291952"/>
            <a:ext cx="1981992" cy="5568653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178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2783800"/>
            <a:ext cx="4906692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8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85538" y="5326107"/>
            <a:ext cx="4112820" cy="5365706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2875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42367645-74E2-459A-BE9A-64DF24D64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4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61559" y="970963"/>
            <a:ext cx="5642894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3983" y="5596296"/>
            <a:ext cx="2083757" cy="527413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910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4" y="0"/>
            <a:ext cx="7968796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961559" y="970963"/>
            <a:ext cx="5642894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5062923" y="5312861"/>
            <a:ext cx="4112820" cy="538885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4150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0123D111-C99F-4588-B064-E7EA60241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46B26778-A0D0-4E1F-B2D3-38247D6591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2" name="ArrowPanelWhite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52424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4562" y="5596296"/>
            <a:ext cx="2083757" cy="527413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0712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52424" cy="4228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7509009" y="5312861"/>
            <a:ext cx="4112820" cy="538885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952180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5965360"/>
            <a:ext cx="13198066" cy="2504656"/>
          </a:xfrm>
        </p:spPr>
        <p:txBody>
          <a:bodyPr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8051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D4C4DA86-0B4D-473B-A8D5-F01B0F7DF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02ABC3C-A083-42EB-84D3-16BA28606C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71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5965360"/>
            <a:ext cx="13198066" cy="250465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961558" y="970962"/>
            <a:ext cx="1400695" cy="1431188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899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D607360-2403-48CB-B422-C21281360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5291581"/>
              </p:ext>
            </p:ext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071AEA3-A10A-4859-BC41-31E2E7B5E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27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2" y="1"/>
            <a:ext cx="5874159" cy="1069385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9563" tIns="69782" rIns="139563" bIns="6978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526"/>
              </a:spcAft>
            </a:pPr>
            <a:endParaRPr lang="en-US" sz="1832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961557" y="2407566"/>
            <a:ext cx="4166138" cy="233198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4274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495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9" name="Bubble"/>
          <p:cNvGrpSpPr/>
          <p:nvPr userDrawn="1"/>
        </p:nvGrpSpPr>
        <p:grpSpPr>
          <a:xfrm>
            <a:off x="2" y="1"/>
            <a:ext cx="15119347" cy="9135724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4229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4229" dirty="0">
                <a:solidFill>
                  <a:schemeClr val="tx1"/>
                </a:solidFill>
                <a:latin typeface="+mn-lt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3633" b="23083"/>
          <a:stretch/>
        </p:blipFill>
        <p:spPr>
          <a:xfrm rot="16200000" flipH="1">
            <a:off x="8563295" y="2102213"/>
            <a:ext cx="1199293" cy="11912816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4506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13665109" y="9989746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13198066" cy="42280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9028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White"/>
          <p:cNvSpPr/>
          <p:nvPr userDrawn="1"/>
        </p:nvSpPr>
        <p:spPr bwMode="ltGray">
          <a:xfrm>
            <a:off x="0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944276" y="4288471"/>
            <a:ext cx="3395672" cy="21148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1068"/>
              </a:spcAft>
              <a:buFontTx/>
              <a:buNone/>
            </a:pPr>
            <a:r>
              <a:rPr lang="en-US" sz="6716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32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69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8" name="Picture 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98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15119350" cy="10691813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32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83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2" dirty="0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2" dirty="0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832" dirty="0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526"/>
                </a:spcAft>
              </a:pPr>
              <a:endParaRPr lang="en-US" sz="183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154022"/>
              <a:ext cx="7283401" cy="40667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526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91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238585"/>
              </p:ext>
            </p:ext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09" y="9989746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698660" y="7097908"/>
            <a:ext cx="1329697" cy="136013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053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4247116" y="7097908"/>
            <a:ext cx="2005535" cy="204649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838" tIns="27473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053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5"/>
            </p:custDataLst>
          </p:nvPr>
        </p:nvSpPr>
        <p:spPr>
          <a:xfrm>
            <a:off x="961559" y="1425574"/>
            <a:ext cx="5291093" cy="5447831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946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6716" dirty="0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2741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880414"/>
              </p:ext>
            </p:ext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09" y="9989746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351677" y="4159550"/>
            <a:ext cx="12416915" cy="4990489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8690" tIns="418690" rIns="418690" bIns="20934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9158"/>
              </a:lnSpc>
            </a:pPr>
            <a:endParaRPr lang="en-US" sz="6716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1351678" y="2272754"/>
            <a:ext cx="1399837" cy="14311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053" dirty="0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1121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861717"/>
              </p:ext>
            </p:ext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13665109" y="9989746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959497" y="1880189"/>
            <a:ext cx="14159853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959497" y="970963"/>
            <a:ext cx="10973965" cy="7341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4274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3887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183259"/>
              </p:ext>
            </p:ext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491478" y="0"/>
            <a:ext cx="636385" cy="10691813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5129531" y="-2040"/>
            <a:ext cx="9989820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961558" y="4181313"/>
            <a:ext cx="3774801" cy="23348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916"/>
              </a:spcAft>
            </a:pPr>
            <a:r>
              <a:rPr lang="en-US" sz="4274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68858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1351675" y="4159550"/>
            <a:ext cx="12416915" cy="4990489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1395649" rtl="0" eaLnBrk="1" fontAlgn="auto" latinLnBrk="0" hangingPunct="1">
              <a:lnSpc>
                <a:spcPts val="9158"/>
              </a:lnSpc>
              <a:spcBef>
                <a:spcPts val="0"/>
              </a:spcBef>
              <a:spcAft>
                <a:spcPts val="0"/>
              </a:spcAft>
              <a:defRPr lang="en-US" sz="671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1351676" y="2272755"/>
            <a:ext cx="1399837" cy="14311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416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255384"/>
              </p:ext>
            </p:ext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2698656" y="7097908"/>
            <a:ext cx="1329697" cy="136013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32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4247113" y="7097908"/>
            <a:ext cx="2005535" cy="2046492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64838" tIns="27473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32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5"/>
            </p:custDataLst>
          </p:nvPr>
        </p:nvSpPr>
        <p:spPr>
          <a:xfrm>
            <a:off x="961554" y="1425574"/>
            <a:ext cx="5291093" cy="5447831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549462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6716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3005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475977"/>
              </p:ext>
            </p:ext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1351672" y="4159550"/>
            <a:ext cx="12416915" cy="4990489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8690" tIns="418690" rIns="418690" bIns="209345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9158"/>
              </a:lnSpc>
            </a:pPr>
            <a:endParaRPr lang="en-US" sz="6716" dirty="0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1351673" y="2272754"/>
            <a:ext cx="1399837" cy="143118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32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389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814260"/>
              </p:ext>
            </p:ext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959497" y="1880186"/>
            <a:ext cx="14159853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959497" y="970961"/>
            <a:ext cx="10973965" cy="7341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3663" dirty="0">
                <a:solidFill>
                  <a:srgbClr val="0077BE"/>
                </a:solidFill>
                <a:latin typeface="Trebuchet MS" panose="020B0603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42954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310528"/>
              </p:ext>
            </p:ext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4491478" y="0"/>
            <a:ext cx="636385" cy="10691813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5129531" y="-2040"/>
            <a:ext cx="9989820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961558" y="4181313"/>
            <a:ext cx="3774801" cy="23348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916"/>
              </a:spcAft>
            </a:pPr>
            <a:r>
              <a:rPr lang="en-US" sz="3663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93855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504755"/>
              </p:ext>
            </p:ext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ArrowPanelWhite"/>
          <p:cNvSpPr/>
          <p:nvPr userDrawn="1"/>
        </p:nvSpPr>
        <p:spPr bwMode="ltGray">
          <a:xfrm>
            <a:off x="0" y="0"/>
            <a:ext cx="5124416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944276" y="4288471"/>
            <a:ext cx="3395672" cy="21148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1068"/>
              </a:spcAft>
              <a:buFontTx/>
              <a:buNone/>
            </a:pPr>
            <a:r>
              <a:rPr lang="en-US" sz="6716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3167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2F6D2B2-BCDD-F44B-A46D-032F4C0C2A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89919" y="4433384"/>
            <a:ext cx="11339513" cy="1038746"/>
          </a:xfrm>
        </p:spPr>
        <p:txBody>
          <a:bodyPr anchor="b"/>
          <a:lstStyle>
            <a:lvl1pPr algn="ctr">
              <a:defRPr sz="7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D0582FD8-00D2-AE49-A3B6-EB247B311B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000"/>
            </a:lvl1pPr>
            <a:lvl2pPr marL="571923" indent="0" algn="ctr">
              <a:buNone/>
              <a:defRPr sz="2500"/>
            </a:lvl2pPr>
            <a:lvl3pPr marL="1143846" indent="0" algn="ctr">
              <a:buNone/>
              <a:defRPr sz="2300"/>
            </a:lvl3pPr>
            <a:lvl4pPr marL="1715769" indent="0" algn="ctr">
              <a:buNone/>
              <a:defRPr sz="2000"/>
            </a:lvl4pPr>
            <a:lvl5pPr marL="2287692" indent="0" algn="ctr">
              <a:buNone/>
              <a:defRPr sz="2000"/>
            </a:lvl5pPr>
            <a:lvl6pPr marL="2859615" indent="0" algn="ctr">
              <a:buNone/>
              <a:defRPr sz="2000"/>
            </a:lvl6pPr>
            <a:lvl7pPr marL="3431537" indent="0" algn="ctr">
              <a:buNone/>
              <a:defRPr sz="2000"/>
            </a:lvl7pPr>
            <a:lvl8pPr marL="4003460" indent="0" algn="ctr">
              <a:buNone/>
              <a:defRPr sz="2000"/>
            </a:lvl8pPr>
            <a:lvl9pPr marL="4575383" indent="0" algn="ctr">
              <a:buNone/>
              <a:defRPr sz="20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8D17BA8-CEC1-3B4E-A8E4-1C72D1620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A5038E9-69C7-3A49-A165-15E0C143CC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08286" y="9909729"/>
            <a:ext cx="5102781" cy="569240"/>
          </a:xfrm>
          <a:prstGeom prst="rect">
            <a:avLst/>
          </a:prstGeom>
        </p:spPr>
        <p:txBody>
          <a:bodyPr lIns="140781" tIns="70391" rIns="140781" bIns="70391"/>
          <a:lstStyle/>
          <a:p>
            <a:r>
              <a:rPr lang="ru-RU" smtClean="0"/>
              <a:t>1</a:t>
            </a: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2DCAEF49-FCED-714A-92DA-0B60A5E87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78042" y="9909729"/>
            <a:ext cx="3401854" cy="569240"/>
          </a:xfrm>
          <a:prstGeom prst="rect">
            <a:avLst/>
          </a:prstGeom>
        </p:spPr>
        <p:txBody>
          <a:bodyPr lIns="140781" tIns="70391" rIns="140781" bIns="70391"/>
          <a:lstStyle/>
          <a:p>
            <a:fld id="{438F3C6B-AB20-F24E-B142-B6CD49824C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27403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6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968" b="1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 descr="A picture containing blue&#10;&#10;Description automatically generated">
            <a:extLst>
              <a:ext uri="{FF2B5EF4-FFF2-40B4-BE49-F238E27FC236}">
                <a16:creationId xmlns="" xmlns:a16="http://schemas.microsoft.com/office/drawing/2014/main" id="{46737ADC-79DD-4520-8DE6-FE11FE7E14B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 r="40509"/>
          <a:stretch>
            <a:fillRect/>
          </a:stretch>
        </p:blipFill>
        <p:spPr>
          <a:xfrm>
            <a:off x="4048977" y="-1"/>
            <a:ext cx="11070374" cy="10691796"/>
          </a:xfrm>
          <a:custGeom>
            <a:avLst/>
            <a:gdLst>
              <a:gd name="connsiteX0" fmla="*/ 0 w 7253164"/>
              <a:gd name="connsiteY0" fmla="*/ 0 h 6857989"/>
              <a:gd name="connsiteX1" fmla="*/ 7253164 w 7253164"/>
              <a:gd name="connsiteY1" fmla="*/ 0 h 6857989"/>
              <a:gd name="connsiteX2" fmla="*/ 7253164 w 7253164"/>
              <a:gd name="connsiteY2" fmla="*/ 6857989 h 6857989"/>
              <a:gd name="connsiteX3" fmla="*/ 0 w 7253164"/>
              <a:gd name="connsiteY3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53164" h="6857989">
                <a:moveTo>
                  <a:pt x="0" y="0"/>
                </a:moveTo>
                <a:lnTo>
                  <a:pt x="7253164" y="0"/>
                </a:lnTo>
                <a:lnTo>
                  <a:pt x="7253164" y="6857989"/>
                </a:lnTo>
                <a:lnTo>
                  <a:pt x="0" y="6857989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D4F1022C-A41F-4F64-A704-343E6666F2DE}"/>
              </a:ext>
            </a:extLst>
          </p:cNvPr>
          <p:cNvSpPr/>
          <p:nvPr userDrawn="1"/>
        </p:nvSpPr>
        <p:spPr>
          <a:xfrm>
            <a:off x="4996402" y="0"/>
            <a:ext cx="10122949" cy="10691813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3395" tIns="56698" rIns="113395" bIns="5669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88" dirty="0">
              <a:solidFill>
                <a:srgbClr val="FFFFFF"/>
              </a:solidFill>
            </a:endParaRPr>
          </a:p>
        </p:txBody>
      </p:sp>
      <p:sp>
        <p:nvSpPr>
          <p:cNvPr id="13" name="Freeform: Shape 17">
            <a:extLst>
              <a:ext uri="{FF2B5EF4-FFF2-40B4-BE49-F238E27FC236}">
                <a16:creationId xmlns="" xmlns:a16="http://schemas.microsoft.com/office/drawing/2014/main" id="{04AA2C2B-E2E3-4DBA-8327-F6BEE1554F6A}"/>
              </a:ext>
            </a:extLst>
          </p:cNvPr>
          <p:cNvSpPr/>
          <p:nvPr userDrawn="1"/>
        </p:nvSpPr>
        <p:spPr>
          <a:xfrm flipV="1">
            <a:off x="1" y="0"/>
            <a:ext cx="8888848" cy="10691813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2134" tIns="92134" rIns="92134" bIns="92134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411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="" xmlns:a16="http://schemas.microsoft.com/office/drawing/2014/main" id="{9528D4DA-5E9B-430B-A0DA-C5897F60E0DC}"/>
              </a:ext>
            </a:extLst>
          </p:cNvPr>
          <p:cNvCxnSpPr/>
          <p:nvPr userDrawn="1"/>
        </p:nvCxnSpPr>
        <p:spPr>
          <a:xfrm>
            <a:off x="960639" y="8010842"/>
            <a:ext cx="2238827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60639" y="8448318"/>
            <a:ext cx="6380968" cy="377860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2232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83487" indent="0" algn="ctr">
              <a:buNone/>
              <a:defRPr/>
            </a:lvl4pPr>
            <a:lvl5pPr marL="566974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60640" y="7005529"/>
            <a:ext cx="6380967" cy="56784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93000"/>
              </a:lnSpc>
              <a:defRPr sz="3968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DB21D02-2C95-4542-8955-4621DBF0B468}"/>
              </a:ext>
            </a:extLst>
          </p:cNvPr>
          <p:cNvSpPr/>
          <p:nvPr userDrawn="1"/>
        </p:nvSpPr>
        <p:spPr>
          <a:xfrm>
            <a:off x="13388869" y="285935"/>
            <a:ext cx="1237518" cy="1526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92" dirty="0">
                <a:solidFill>
                  <a:srgbClr val="C8C8C8"/>
                </a:solidFill>
              </a:rPr>
              <a:t>КОНФИДЕНЦИАЛЬНО</a:t>
            </a:r>
            <a:endParaRPr lang="en-US" sz="992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55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4BD2686C-F4F7-4B49-9FA7-547747A553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4BD2686C-F4F7-4B49-9FA7-547747A55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CBDCE76-2E58-4C33-B825-70B22AB66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7" cy="412164"/>
          </a:xfrm>
        </p:spPr>
        <p:txBody>
          <a:bodyPr/>
          <a:lstStyle>
            <a:lvl1pPr>
              <a:defRPr sz="297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3595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07648504-9EE9-4917-8732-47ADDE1CE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07648504-9EE9-4917-8732-47ADDE1CE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5F3A929-EAE7-4D1B-9845-273796770D7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7" cy="412164"/>
          </a:xfrm>
        </p:spPr>
        <p:txBody>
          <a:bodyPr/>
          <a:lstStyle>
            <a:lvl1pPr>
              <a:defRPr sz="297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0644" y="3251554"/>
            <a:ext cx="13198980" cy="634276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84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84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84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8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8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575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6D607360-2403-48CB-B422-C21281360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3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6D607360-2403-48CB-B422-C21281360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071AEA3-A10A-4859-BC41-31E2E7B5EC0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72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2" y="2"/>
            <a:ext cx="5874159" cy="1069385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3395" tIns="56698" rIns="113395" bIns="5669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961557" y="2407566"/>
            <a:ext cx="4166137" cy="2331985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472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089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13665109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8" y="5966088"/>
            <a:ext cx="13198066" cy="3182288"/>
          </a:xfrm>
        </p:spPr>
        <p:txBody>
          <a:bodyPr anchor="t">
            <a:noAutofit/>
          </a:bodyPr>
          <a:lstStyle>
            <a:lvl1pPr>
              <a:defRPr sz="671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961558" y="5737247"/>
            <a:ext cx="1415779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  <p:pic>
        <p:nvPicPr>
          <p:cNvPr id="7" name="Picture 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88" cy="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17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1351675" y="4159550"/>
            <a:ext cx="12416915" cy="4990489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1133947" rtl="0" eaLnBrk="1" fontAlgn="auto" latinLnBrk="0" hangingPunct="1">
              <a:lnSpc>
                <a:spcPts val="7441"/>
              </a:lnSpc>
              <a:spcBef>
                <a:spcPts val="0"/>
              </a:spcBef>
              <a:spcAft>
                <a:spcPts val="0"/>
              </a:spcAft>
              <a:defRPr lang="en-US" sz="545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1351676" y="2272755"/>
            <a:ext cx="1399837" cy="14311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0FA1F76-908C-4024-8D26-CD8F7A8BFB50}"/>
              </a:ext>
            </a:extLst>
          </p:cNvPr>
          <p:cNvSpPr/>
          <p:nvPr userDrawn="1"/>
        </p:nvSpPr>
        <p:spPr>
          <a:xfrm>
            <a:off x="13388869" y="285935"/>
            <a:ext cx="1237518" cy="1526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92" dirty="0">
                <a:solidFill>
                  <a:srgbClr val="C8C8C8"/>
                </a:solidFill>
              </a:rPr>
              <a:t>КОНФИДЕНЦИАЛЬНО</a:t>
            </a:r>
            <a:endParaRPr lang="en-US" sz="992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44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7" y="5966088"/>
            <a:ext cx="13198067" cy="3182288"/>
          </a:xfrm>
        </p:spPr>
        <p:txBody>
          <a:bodyPr anchor="t">
            <a:noAutofit/>
          </a:bodyPr>
          <a:lstStyle>
            <a:lvl1pPr>
              <a:defRPr sz="545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961559" y="5737247"/>
            <a:ext cx="1415779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9737EECB-1C76-4EE2-B703-494B2C479509}"/>
              </a:ext>
            </a:extLst>
          </p:cNvPr>
          <p:cNvSpPr/>
          <p:nvPr userDrawn="1"/>
        </p:nvSpPr>
        <p:spPr>
          <a:xfrm>
            <a:off x="13388869" y="285935"/>
            <a:ext cx="1237518" cy="1526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92" dirty="0">
                <a:solidFill>
                  <a:srgbClr val="C8C8C8"/>
                </a:solidFill>
              </a:rPr>
              <a:t>КОНФИДЕНЦИАЛЬНО</a:t>
            </a:r>
            <a:endParaRPr lang="en-US" sz="992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7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5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72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107017" y="0"/>
            <a:ext cx="637375" cy="10691813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0"/>
            <a:ext cx="5125016" cy="1069181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961559" y="4179914"/>
            <a:ext cx="3776213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72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1BC024B1-C96D-4449-A7E6-98CB1CD4BB1F}"/>
              </a:ext>
            </a:extLst>
          </p:cNvPr>
          <p:cNvSpPr/>
          <p:nvPr userDrawn="1"/>
        </p:nvSpPr>
        <p:spPr>
          <a:xfrm>
            <a:off x="13388869" y="285935"/>
            <a:ext cx="1237518" cy="1526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92" dirty="0">
                <a:solidFill>
                  <a:srgbClr val="C8C8C8"/>
                </a:solidFill>
              </a:rPr>
              <a:t>КОНФИДЕНЦИАЛЬНО</a:t>
            </a:r>
            <a:endParaRPr lang="en-US" sz="992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69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5C789F0D-C9AE-4DB8-AC61-09A2F9CD6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5C789F0D-C9AE-4DB8-AC61-09A2F9CD6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0835607-9670-40A0-9258-C63E2618CC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860945" y="0"/>
            <a:ext cx="637375" cy="10691813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8870336" cy="1069181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7552424" cy="412164"/>
          </a:xfrm>
          <a:prstGeom prst="rect">
            <a:avLst/>
          </a:prstGeom>
        </p:spPr>
        <p:txBody>
          <a:bodyPr/>
          <a:lstStyle>
            <a:lvl1pPr>
              <a:defRPr sz="297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52A120B-0115-4EB1-BACF-E30BD59B2A6E}"/>
              </a:ext>
            </a:extLst>
          </p:cNvPr>
          <p:cNvSpPr/>
          <p:nvPr userDrawn="1"/>
        </p:nvSpPr>
        <p:spPr>
          <a:xfrm>
            <a:off x="13388869" y="285935"/>
            <a:ext cx="1237518" cy="1526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92" dirty="0">
                <a:solidFill>
                  <a:srgbClr val="C8C8C8"/>
                </a:solidFill>
              </a:rPr>
              <a:t>КОНФИДЕНЦИАЛЬНО</a:t>
            </a:r>
            <a:endParaRPr lang="en-US" sz="992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22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91479" y="0"/>
            <a:ext cx="636384" cy="10691813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5129531" y="-2040"/>
            <a:ext cx="9989820" cy="10693854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179914"/>
            <a:ext cx="3774800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7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FFE101B3-C26C-4B8C-BF25-0E104DEE5D49}"/>
              </a:ext>
            </a:extLst>
          </p:cNvPr>
          <p:cNvSpPr/>
          <p:nvPr userDrawn="1"/>
        </p:nvSpPr>
        <p:spPr>
          <a:xfrm>
            <a:off x="13388869" y="285935"/>
            <a:ext cx="1237518" cy="1526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92" dirty="0">
                <a:solidFill>
                  <a:srgbClr val="C8C8C8"/>
                </a:solidFill>
              </a:rPr>
              <a:t>КОНФИДЕНЦИАЛЬНО</a:t>
            </a:r>
            <a:endParaRPr lang="en-US" sz="992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735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935364" y="0"/>
            <a:ext cx="637375" cy="10691813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7559675" y="0"/>
            <a:ext cx="7559675" cy="1069181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558760" y="0"/>
            <a:ext cx="7560590" cy="10691813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23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92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961557" y="2783800"/>
            <a:ext cx="5294903" cy="5124213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96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251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9015911" y="0"/>
            <a:ext cx="636384" cy="10691813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9641219" y="0"/>
            <a:ext cx="5478132" cy="10691813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9643050" y="0"/>
            <a:ext cx="5476300" cy="10691813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223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92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961557" y="2783800"/>
            <a:ext cx="7552055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96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380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9D654D1C-C99D-423A-A91A-875BAA856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0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9D654D1C-C99D-423A-A91A-875BAA85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33FA805A-41AA-43DA-93B3-A21C8726BA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72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1" name="ArrowPanelGray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961560" y="4178507"/>
            <a:ext cx="3028601" cy="2334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472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787" y="5597532"/>
            <a:ext cx="2083757" cy="527413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85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0" y="0"/>
            <a:ext cx="5124415" cy="10693855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961560" y="4178505"/>
            <a:ext cx="3028601" cy="2334800"/>
          </a:xfrm>
        </p:spPr>
        <p:txBody>
          <a:bodyPr anchor="ctr" anchorCtr="0">
            <a:noAutofit/>
          </a:bodyPr>
          <a:lstStyle>
            <a:lvl1pPr>
              <a:defRPr sz="3472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4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206981" y="5305106"/>
            <a:ext cx="4112820" cy="5396957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528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7E1E3A5-2541-4EE2-B1CD-3FA262A75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37E1E3A5-2541-4EE2-B1CD-3FA262A75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EEB5D7A0-FF97-4010-962F-980563A2C0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968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92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7" y="2783800"/>
            <a:ext cx="4903945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968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344" y="5291954"/>
            <a:ext cx="1981992" cy="5568653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881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311743"/>
              </p:ext>
            </p:ext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274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5107016" y="0"/>
            <a:ext cx="637375" cy="10691813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0"/>
            <a:ext cx="5125016" cy="1069181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961558" y="4179914"/>
            <a:ext cx="3776213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274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Page">
            <a:extLst>
              <a:ext uri="{FF2B5EF4-FFF2-40B4-BE49-F238E27FC236}">
                <a16:creationId xmlns="" xmlns:a16="http://schemas.microsoft.com/office/drawing/2014/main" id="{890D95DF-6915-844A-BF3B-ADA207EA191E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689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6809443" cy="10691813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961557" y="2783800"/>
            <a:ext cx="4903945" cy="512421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968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4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985537" y="5326107"/>
            <a:ext cx="4112820" cy="5365706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38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2FA6E58-42C2-4A8B-A308-104370CC4E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2FA6E58-42C2-4A8B-A308-104370CC4E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74C4ECC-66C3-4F53-B939-1BCA1A8E2E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0"/>
            <a:ext cx="7968797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961558" y="970965"/>
            <a:ext cx="5642893" cy="41216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97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984" y="5596296"/>
            <a:ext cx="2083757" cy="527413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85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A37AE0A9-967E-4DE8-9322-59BBA1977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A37AE0A9-967E-4DE8-9322-59BBA1977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4B432D4-EAEF-439C-8BD0-5D5F9A5A3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ArrowPanelGray"/>
          <p:cNvSpPr/>
          <p:nvPr userDrawn="1"/>
        </p:nvSpPr>
        <p:spPr bwMode="white">
          <a:xfrm>
            <a:off x="4" y="0"/>
            <a:ext cx="7968797" cy="10691813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961558" y="970965"/>
            <a:ext cx="5642893" cy="41216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976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4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062924" y="5312862"/>
            <a:ext cx="4112820" cy="5388859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872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778B4846-5D34-40B4-A5DC-B6A52EE49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9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778B4846-5D34-40B4-A5DC-B6A52EE49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591BC137-0B7C-4682-9520-108DA2F85E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7552424" cy="412164"/>
          </a:xfrm>
        </p:spPr>
        <p:txBody>
          <a:bodyPr/>
          <a:lstStyle>
            <a:lvl1pPr>
              <a:defRPr sz="297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4562" y="5596296"/>
            <a:ext cx="2083757" cy="527413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699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BA8F6F6A-A66E-4A7D-B36D-992137A4C6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2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BA8F6F6A-A66E-4A7D-B36D-992137A4C6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BE233755-136D-4B2A-B720-37D0D76AA8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4" name="ArrowPanelGray"/>
          <p:cNvSpPr/>
          <p:nvPr userDrawn="1"/>
        </p:nvSpPr>
        <p:spPr bwMode="white">
          <a:xfrm>
            <a:off x="0" y="0"/>
            <a:ext cx="10382305" cy="10691813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961559" y="970965"/>
            <a:ext cx="7552424" cy="412164"/>
          </a:xfrm>
        </p:spPr>
        <p:txBody>
          <a:bodyPr/>
          <a:lstStyle>
            <a:lvl1pPr>
              <a:defRPr sz="2976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4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509008" y="5312862"/>
            <a:ext cx="4112820" cy="5388859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72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5965360"/>
            <a:ext cx="13198067" cy="2504656"/>
          </a:xfrm>
        </p:spPr>
        <p:txBody>
          <a:bodyPr anchor="b">
            <a:noAutofit/>
          </a:bodyPr>
          <a:lstStyle>
            <a:lvl1pPr marL="0" algn="l" defTabSz="1133947" rtl="0" eaLnBrk="1" fontAlgn="auto" latinLnBrk="0" hangingPunct="1">
              <a:lnSpc>
                <a:spcPts val="7441"/>
              </a:lnSpc>
              <a:spcBef>
                <a:spcPts val="0"/>
              </a:spcBef>
              <a:spcAft>
                <a:spcPts val="0"/>
              </a:spcAft>
              <a:defRPr lang="en-US" sz="5456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752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F3D2C4E-5C0D-41F0-B61A-EC084746F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4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1F3D2C4E-5C0D-41F0-B61A-EC084746F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43D080A-FBC1-4863-B3F6-1F9864D67FE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5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961557" y="5965360"/>
            <a:ext cx="13198067" cy="250465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133947" rtl="0" eaLnBrk="1" fontAlgn="auto" latinLnBrk="0" hangingPunct="1">
              <a:lnSpc>
                <a:spcPts val="7441"/>
              </a:lnSpc>
              <a:spcBef>
                <a:spcPts val="0"/>
              </a:spcBef>
              <a:spcAft>
                <a:spcPts val="0"/>
              </a:spcAft>
              <a:defRPr lang="en-US" sz="5456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961558" y="975133"/>
            <a:ext cx="1400695" cy="1431188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0402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Bubble"/>
          <p:cNvGrpSpPr/>
          <p:nvPr userDrawn="1"/>
        </p:nvGrpSpPr>
        <p:grpSpPr>
          <a:xfrm>
            <a:off x="1" y="2"/>
            <a:ext cx="15119348" cy="9135724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23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2232" dirty="0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8563296" y="2102215"/>
            <a:ext cx="1199293" cy="11912816"/>
          </a:xfrm>
          <a:custGeom>
            <a:avLst/>
            <a:gdLst>
              <a:gd name="connsiteX0" fmla="*/ 0 w 769257"/>
              <a:gd name="connsiteY0" fmla="*/ 1864718 h 7805121"/>
              <a:gd name="connsiteX1" fmla="*/ 0 w 769257"/>
              <a:gd name="connsiteY1" fmla="*/ 3372163 h 7805121"/>
              <a:gd name="connsiteX2" fmla="*/ 119296 w 769257"/>
              <a:gd name="connsiteY2" fmla="*/ 1933159 h 7805121"/>
              <a:gd name="connsiteX3" fmla="*/ 0 w 769257"/>
              <a:gd name="connsiteY3" fmla="*/ 0 h 7805121"/>
              <a:gd name="connsiteX4" fmla="*/ 0 w 769257"/>
              <a:gd name="connsiteY4" fmla="*/ 226161 h 7805121"/>
              <a:gd name="connsiteX5" fmla="*/ 201963 w 769257"/>
              <a:gd name="connsiteY5" fmla="*/ 8910 h 7805121"/>
              <a:gd name="connsiteX6" fmla="*/ 197200 w 769257"/>
              <a:gd name="connsiteY6" fmla="*/ 75585 h 7805121"/>
              <a:gd name="connsiteX7" fmla="*/ 199428 w 769257"/>
              <a:gd name="connsiteY7" fmla="*/ 966566 h 7805121"/>
              <a:gd name="connsiteX8" fmla="*/ 206725 w 769257"/>
              <a:gd name="connsiteY8" fmla="*/ 878542 h 7805121"/>
              <a:gd name="connsiteX9" fmla="*/ 206725 w 769257"/>
              <a:gd name="connsiteY9" fmla="*/ 7805121 h 7805121"/>
              <a:gd name="connsiteX10" fmla="*/ 769257 w 769257"/>
              <a:gd name="connsiteY10" fmla="*/ 7805121 h 7805121"/>
              <a:gd name="connsiteX11" fmla="*/ 769257 w 769257"/>
              <a:gd name="connsiteY11" fmla="*/ 0 h 7805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9257" h="7805121">
                <a:moveTo>
                  <a:pt x="0" y="1864718"/>
                </a:moveTo>
                <a:lnTo>
                  <a:pt x="0" y="3372163"/>
                </a:lnTo>
                <a:lnTo>
                  <a:pt x="119296" y="1933159"/>
                </a:lnTo>
                <a:close/>
                <a:moveTo>
                  <a:pt x="0" y="0"/>
                </a:moveTo>
                <a:lnTo>
                  <a:pt x="0" y="226161"/>
                </a:lnTo>
                <a:lnTo>
                  <a:pt x="201963" y="8910"/>
                </a:lnTo>
                <a:lnTo>
                  <a:pt x="197200" y="75585"/>
                </a:lnTo>
                <a:lnTo>
                  <a:pt x="199428" y="966566"/>
                </a:lnTo>
                <a:lnTo>
                  <a:pt x="206725" y="878542"/>
                </a:lnTo>
                <a:lnTo>
                  <a:pt x="206725" y="7805121"/>
                </a:lnTo>
                <a:lnTo>
                  <a:pt x="769257" y="78051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631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5869E05E-F5C3-4EFB-97F7-778343B7FD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7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5869E05E-F5C3-4EFB-97F7-778343B7FD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A85A8014-AB13-41A4-8579-0BDA85E16A1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 bwMode="white">
          <a:xfrm>
            <a:off x="13665110" y="10033733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7" cy="412164"/>
          </a:xfrm>
        </p:spPr>
        <p:txBody>
          <a:bodyPr/>
          <a:lstStyle>
            <a:lvl1pPr>
              <a:defRPr sz="297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82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40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5C789F0D-C9AE-4DB8-AC61-09A2F9CD6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3443125"/>
              </p:ext>
            </p:extLst>
          </p:nvPr>
        </p:nvGraphicFramePr>
        <p:xfrm>
          <a:off x="2424" y="2476"/>
          <a:ext cx="2424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4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0835607-9670-40A0-9258-C63E2618CC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6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8860945" y="0"/>
            <a:ext cx="637375" cy="10691813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2" y="0"/>
            <a:ext cx="8870336" cy="1069181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83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961558" y="970963"/>
            <a:ext cx="7552424" cy="518219"/>
          </a:xfrm>
          <a:prstGeom prst="rect">
            <a:avLst/>
          </a:prstGeom>
        </p:spPr>
        <p:txBody>
          <a:bodyPr/>
          <a:lstStyle>
            <a:lvl1pPr>
              <a:defRPr sz="3663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Page">
            <a:extLst>
              <a:ext uri="{FF2B5EF4-FFF2-40B4-BE49-F238E27FC236}">
                <a16:creationId xmlns="" xmlns:a16="http://schemas.microsoft.com/office/drawing/2014/main" id="{78157CFC-01A7-7B4A-9754-A82D606274D0}"/>
              </a:ext>
            </a:extLst>
          </p:cNvPr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004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13665110" y="10033733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03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5" y="2478"/>
          <a:ext cx="2422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9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25" y="2478"/>
                        <a:ext cx="2422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lue&#10;&#10;Description automatically generated">
            <a:extLst>
              <a:ext uri="{FF2B5EF4-FFF2-40B4-BE49-F238E27FC236}">
                <a16:creationId xmlns="" xmlns:a16="http://schemas.microsoft.com/office/drawing/2014/main" id="{401C23A7-9009-40D1-90C5-392FCEDA5A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/>
          </a:blip>
          <a:srcRect l="38295"/>
          <a:stretch>
            <a:fillRect/>
          </a:stretch>
        </p:blipFill>
        <p:spPr>
          <a:xfrm>
            <a:off x="2" y="3"/>
            <a:ext cx="11482292" cy="10691811"/>
          </a:xfrm>
          <a:custGeom>
            <a:avLst/>
            <a:gdLst>
              <a:gd name="connsiteX0" fmla="*/ 0 w 7523047"/>
              <a:gd name="connsiteY0" fmla="*/ 0 h 6857999"/>
              <a:gd name="connsiteX1" fmla="*/ 7523047 w 7523047"/>
              <a:gd name="connsiteY1" fmla="*/ 0 h 6857999"/>
              <a:gd name="connsiteX2" fmla="*/ 7523047 w 7523047"/>
              <a:gd name="connsiteY2" fmla="*/ 6857999 h 6857999"/>
              <a:gd name="connsiteX3" fmla="*/ 0 w 7523047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23047" h="6857999">
                <a:moveTo>
                  <a:pt x="0" y="0"/>
                </a:moveTo>
                <a:lnTo>
                  <a:pt x="7523047" y="0"/>
                </a:lnTo>
                <a:lnTo>
                  <a:pt x="7523047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6" name="Freeform: Shape 17">
            <a:extLst>
              <a:ext uri="{FF2B5EF4-FFF2-40B4-BE49-F238E27FC236}">
                <a16:creationId xmlns="" xmlns:a16="http://schemas.microsoft.com/office/drawing/2014/main" id="{04AA2C2B-E2E3-4DBA-8327-F6BEE1554F6A}"/>
              </a:ext>
            </a:extLst>
          </p:cNvPr>
          <p:cNvSpPr/>
          <p:nvPr userDrawn="1"/>
        </p:nvSpPr>
        <p:spPr>
          <a:xfrm flipH="1">
            <a:off x="6230503" y="0"/>
            <a:ext cx="8888848" cy="10691813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2134" tIns="92134" rIns="92134" bIns="92134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411" kern="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86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12077162" y="10034724"/>
            <a:ext cx="1576956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52" name="A4Grid"/>
          <p:cNvGrpSpPr/>
          <p:nvPr userDrawn="1"/>
        </p:nvGrpSpPr>
        <p:grpSpPr>
          <a:xfrm>
            <a:off x="0" y="0"/>
            <a:ext cx="15119350" cy="10691813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488" b="0" i="0" u="none" strike="noStrike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48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88" dirty="0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88" dirty="0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88" dirty="0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240"/>
                </a:spcAft>
              </a:pPr>
              <a:endParaRPr lang="en-US" sz="1488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230274"/>
              <a:ext cx="7283401" cy="330425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40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</a:pPr>
              <a:r>
                <a:rPr lang="en-US" sz="1240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</a:pPr>
              <a:r>
                <a:rPr lang="en-US" sz="1240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7965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1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7" cy="343492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4842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ED28D44B-4F21-4AA6-8F07-0F8973A6A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4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ED28D44B-4F21-4AA6-8F07-0F8973A6A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CE0FA1AA-EFC9-43C2-B04A-C4867F1C8D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8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61557" y="970965"/>
            <a:ext cx="13198067" cy="343492"/>
          </a:xfrm>
        </p:spPr>
        <p:txBody>
          <a:bodyPr/>
          <a:lstStyle>
            <a:lvl1pPr>
              <a:defRPr sz="248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9D8A3B7-A1BE-4885-9155-A25DC2ADE0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0644" y="3251555"/>
            <a:ext cx="13198980" cy="63259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4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4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4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736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736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774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C8EBAB8-5ECC-4C80-BB85-427EA75A2D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6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4C8EBAB8-5ECC-4C80-BB85-427EA75A2D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1863E42-93AF-44F1-A770-4A3F242169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nelGray"/>
          <p:cNvSpPr/>
          <p:nvPr userDrawn="1"/>
        </p:nvSpPr>
        <p:spPr bwMode="white">
          <a:xfrm>
            <a:off x="1" y="-2040"/>
            <a:ext cx="5873743" cy="1069385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3395" tIns="56698" rIns="113395" bIns="5669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240"/>
              </a:spcAft>
            </a:pPr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961559" y="3365925"/>
            <a:ext cx="4514132" cy="8445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984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566974" indent="0" algn="ctr">
              <a:buNone/>
              <a:defRPr sz="2480"/>
            </a:lvl2pPr>
            <a:lvl3pPr marL="1133947" indent="0" algn="ctr">
              <a:buNone/>
              <a:defRPr sz="2232"/>
            </a:lvl3pPr>
            <a:lvl4pPr marL="1700921" indent="0" algn="ctr">
              <a:buNone/>
              <a:defRPr sz="1984"/>
            </a:lvl4pPr>
            <a:lvl5pPr marL="2267895" indent="0" algn="ctr">
              <a:buNone/>
              <a:defRPr sz="1984"/>
            </a:lvl5pPr>
            <a:lvl6pPr marL="2834869" indent="0" algn="ctr">
              <a:buNone/>
              <a:defRPr sz="1984"/>
            </a:lvl6pPr>
            <a:lvl7pPr marL="3401842" indent="0" algn="ctr">
              <a:buNone/>
              <a:defRPr sz="1984"/>
            </a:lvl7pPr>
            <a:lvl8pPr marL="3968816" indent="0" algn="ctr">
              <a:buNone/>
              <a:defRPr sz="1984"/>
            </a:lvl8pPr>
            <a:lvl9pPr marL="4535790" indent="0" algn="ctr">
              <a:buNone/>
              <a:defRPr sz="1984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961559" y="1913006"/>
            <a:ext cx="4514132" cy="1036437"/>
          </a:xfrm>
        </p:spPr>
        <p:txBody>
          <a:bodyPr anchor="t">
            <a:noAutofit/>
          </a:bodyPr>
          <a:lstStyle>
            <a:lvl1pPr>
              <a:defRPr sz="297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0275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351675" y="4159550"/>
            <a:ext cx="12417830" cy="4990489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1133947" rtl="0" eaLnBrk="1" fontAlgn="auto" latinLnBrk="0" hangingPunct="1">
              <a:lnSpc>
                <a:spcPts val="7441"/>
              </a:lnSpc>
              <a:spcBef>
                <a:spcPts val="0"/>
              </a:spcBef>
              <a:spcAft>
                <a:spcPts val="0"/>
              </a:spcAft>
              <a:defRPr lang="en-US" sz="5456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1351675" y="2272755"/>
            <a:ext cx="1399182" cy="1431188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30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1557" y="5966088"/>
            <a:ext cx="13198067" cy="3182288"/>
          </a:xfrm>
        </p:spPr>
        <p:txBody>
          <a:bodyPr anchor="t">
            <a:noAutofit/>
          </a:bodyPr>
          <a:lstStyle>
            <a:lvl1pPr>
              <a:defRPr sz="5456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961558" y="5741588"/>
            <a:ext cx="14159623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816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216DB845-D642-43C7-8535-E3B464D96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216DB845-D642-43C7-8535-E3B464D96E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F317B321-735F-44DA-8D89-0650102D35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107017" y="0"/>
            <a:ext cx="637375" cy="10691813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0"/>
            <a:ext cx="512501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961558" y="4179914"/>
            <a:ext cx="3774800" cy="233198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76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597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1C5399BC-ACDA-449D-BB5F-CC277456B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424" y="2476"/>
          <a:ext cx="2423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1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1C5399BC-ACDA-449D-BB5F-CC277456B3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24" y="2476"/>
                        <a:ext cx="2423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54244749-BF85-4373-908E-95B2E371CF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76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860945" y="0"/>
            <a:ext cx="637375" cy="10691813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8870336" cy="1069181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8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1558" y="970965"/>
            <a:ext cx="7544980" cy="3434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C4A5FEB0-0937-4443-9D88-8E59F9EB80D3}"/>
              </a:ext>
            </a:extLst>
          </p:cNvPr>
          <p:cNvSpPr/>
          <p:nvPr userDrawn="1"/>
        </p:nvSpPr>
        <p:spPr>
          <a:xfrm>
            <a:off x="6784736" y="163700"/>
            <a:ext cx="1551707" cy="1908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240" dirty="0">
                <a:solidFill>
                  <a:srgbClr val="C41300"/>
                </a:solidFill>
              </a:rPr>
              <a:t>КОНФИДЕНЦИАЛЬНО</a:t>
            </a:r>
            <a:endParaRPr lang="en-US" sz="1240" dirty="0" err="1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33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86.xml"/><Relationship Id="rId42" Type="http://schemas.openxmlformats.org/officeDocument/2006/relationships/slideLayout" Target="../slideLayouts/slideLayout107.xml"/><Relationship Id="rId47" Type="http://schemas.openxmlformats.org/officeDocument/2006/relationships/slideLayout" Target="../slideLayouts/slideLayout112.xml"/><Relationship Id="rId63" Type="http://schemas.openxmlformats.org/officeDocument/2006/relationships/slideLayout" Target="../slideLayouts/slideLayout128.xml"/><Relationship Id="rId68" Type="http://schemas.openxmlformats.org/officeDocument/2006/relationships/tags" Target="../tags/tag84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05.xml"/><Relationship Id="rId45" Type="http://schemas.openxmlformats.org/officeDocument/2006/relationships/slideLayout" Target="../slideLayouts/slideLayout110.xml"/><Relationship Id="rId53" Type="http://schemas.openxmlformats.org/officeDocument/2006/relationships/slideLayout" Target="../slideLayouts/slideLayout118.xml"/><Relationship Id="rId58" Type="http://schemas.openxmlformats.org/officeDocument/2006/relationships/slideLayout" Target="../slideLayouts/slideLayout123.xml"/><Relationship Id="rId66" Type="http://schemas.openxmlformats.org/officeDocument/2006/relationships/vmlDrawing" Target="../drawings/vmlDrawing40.vml"/><Relationship Id="rId5" Type="http://schemas.openxmlformats.org/officeDocument/2006/relationships/slideLayout" Target="../slideLayouts/slideLayout70.xml"/><Relationship Id="rId61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43" Type="http://schemas.openxmlformats.org/officeDocument/2006/relationships/slideLayout" Target="../slideLayouts/slideLayout108.xml"/><Relationship Id="rId48" Type="http://schemas.openxmlformats.org/officeDocument/2006/relationships/slideLayout" Target="../slideLayouts/slideLayout113.xml"/><Relationship Id="rId56" Type="http://schemas.openxmlformats.org/officeDocument/2006/relationships/slideLayout" Target="../slideLayouts/slideLayout121.xml"/><Relationship Id="rId64" Type="http://schemas.openxmlformats.org/officeDocument/2006/relationships/slideLayout" Target="../slideLayouts/slideLayout129.xml"/><Relationship Id="rId69" Type="http://schemas.openxmlformats.org/officeDocument/2006/relationships/oleObject" Target="../embeddings/oleObject40.bin"/><Relationship Id="rId8" Type="http://schemas.openxmlformats.org/officeDocument/2006/relationships/slideLayout" Target="../slideLayouts/slideLayout73.xml"/><Relationship Id="rId51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slideLayout" Target="../slideLayouts/slideLayout103.xml"/><Relationship Id="rId46" Type="http://schemas.openxmlformats.org/officeDocument/2006/relationships/slideLayout" Target="../slideLayouts/slideLayout111.xml"/><Relationship Id="rId59" Type="http://schemas.openxmlformats.org/officeDocument/2006/relationships/slideLayout" Target="../slideLayouts/slideLayout124.xml"/><Relationship Id="rId67" Type="http://schemas.openxmlformats.org/officeDocument/2006/relationships/tags" Target="../tags/tag83.xml"/><Relationship Id="rId20" Type="http://schemas.openxmlformats.org/officeDocument/2006/relationships/slideLayout" Target="../slideLayouts/slideLayout85.xml"/><Relationship Id="rId41" Type="http://schemas.openxmlformats.org/officeDocument/2006/relationships/slideLayout" Target="../slideLayouts/slideLayout106.xml"/><Relationship Id="rId54" Type="http://schemas.openxmlformats.org/officeDocument/2006/relationships/slideLayout" Target="../slideLayouts/slideLayout119.xml"/><Relationship Id="rId62" Type="http://schemas.openxmlformats.org/officeDocument/2006/relationships/slideLayout" Target="../slideLayouts/slideLayout127.xml"/><Relationship Id="rId70" Type="http://schemas.openxmlformats.org/officeDocument/2006/relationships/image" Target="../media/image1.emf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slideLayout" Target="../slideLayouts/slideLayout101.xml"/><Relationship Id="rId49" Type="http://schemas.openxmlformats.org/officeDocument/2006/relationships/slideLayout" Target="../slideLayouts/slideLayout114.xml"/><Relationship Id="rId57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96.xml"/><Relationship Id="rId44" Type="http://schemas.openxmlformats.org/officeDocument/2006/relationships/slideLayout" Target="../slideLayouts/slideLayout109.xml"/><Relationship Id="rId52" Type="http://schemas.openxmlformats.org/officeDocument/2006/relationships/slideLayout" Target="../slideLayouts/slideLayout117.xml"/><Relationship Id="rId60" Type="http://schemas.openxmlformats.org/officeDocument/2006/relationships/slideLayout" Target="../slideLayouts/slideLayout125.xml"/><Relationship Id="rId65" Type="http://schemas.openxmlformats.org/officeDocument/2006/relationships/theme" Target="../theme/theme2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104.xml"/><Relationship Id="rId34" Type="http://schemas.openxmlformats.org/officeDocument/2006/relationships/slideLayout" Target="../slideLayouts/slideLayout99.xml"/><Relationship Id="rId50" Type="http://schemas.openxmlformats.org/officeDocument/2006/relationships/slideLayout" Target="../slideLayouts/slideLayout115.xml"/><Relationship Id="rId55" Type="http://schemas.openxmlformats.org/officeDocument/2006/relationships/slideLayout" Target="../slideLayouts/slideLayout12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50.xml"/><Relationship Id="rId42" Type="http://schemas.openxmlformats.org/officeDocument/2006/relationships/slideLayout" Target="../slideLayouts/slideLayout171.xml"/><Relationship Id="rId47" Type="http://schemas.openxmlformats.org/officeDocument/2006/relationships/slideLayout" Target="../slideLayouts/slideLayout176.xml"/><Relationship Id="rId63" Type="http://schemas.openxmlformats.org/officeDocument/2006/relationships/slideLayout" Target="../slideLayouts/slideLayout192.xml"/><Relationship Id="rId68" Type="http://schemas.openxmlformats.org/officeDocument/2006/relationships/oleObject" Target="../embeddings/oleObject76.bin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29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40.xml"/><Relationship Id="rId24" Type="http://schemas.openxmlformats.org/officeDocument/2006/relationships/slideLayout" Target="../slideLayouts/slideLayout153.xml"/><Relationship Id="rId32" Type="http://schemas.openxmlformats.org/officeDocument/2006/relationships/slideLayout" Target="../slideLayouts/slideLayout161.xml"/><Relationship Id="rId37" Type="http://schemas.openxmlformats.org/officeDocument/2006/relationships/slideLayout" Target="../slideLayouts/slideLayout166.xml"/><Relationship Id="rId40" Type="http://schemas.openxmlformats.org/officeDocument/2006/relationships/slideLayout" Target="../slideLayouts/slideLayout169.xml"/><Relationship Id="rId45" Type="http://schemas.openxmlformats.org/officeDocument/2006/relationships/slideLayout" Target="../slideLayouts/slideLayout174.xml"/><Relationship Id="rId53" Type="http://schemas.openxmlformats.org/officeDocument/2006/relationships/slideLayout" Target="../slideLayouts/slideLayout182.xml"/><Relationship Id="rId58" Type="http://schemas.openxmlformats.org/officeDocument/2006/relationships/slideLayout" Target="../slideLayouts/slideLayout187.xml"/><Relationship Id="rId66" Type="http://schemas.openxmlformats.org/officeDocument/2006/relationships/tags" Target="../tags/tag159.xml"/><Relationship Id="rId5" Type="http://schemas.openxmlformats.org/officeDocument/2006/relationships/slideLayout" Target="../slideLayouts/slideLayout134.xml"/><Relationship Id="rId61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43.xml"/><Relationship Id="rId22" Type="http://schemas.openxmlformats.org/officeDocument/2006/relationships/slideLayout" Target="../slideLayouts/slideLayout151.xml"/><Relationship Id="rId27" Type="http://schemas.openxmlformats.org/officeDocument/2006/relationships/slideLayout" Target="../slideLayouts/slideLayout156.xml"/><Relationship Id="rId30" Type="http://schemas.openxmlformats.org/officeDocument/2006/relationships/slideLayout" Target="../slideLayouts/slideLayout159.xml"/><Relationship Id="rId35" Type="http://schemas.openxmlformats.org/officeDocument/2006/relationships/slideLayout" Target="../slideLayouts/slideLayout164.xml"/><Relationship Id="rId43" Type="http://schemas.openxmlformats.org/officeDocument/2006/relationships/slideLayout" Target="../slideLayouts/slideLayout172.xml"/><Relationship Id="rId48" Type="http://schemas.openxmlformats.org/officeDocument/2006/relationships/slideLayout" Target="../slideLayouts/slideLayout177.xml"/><Relationship Id="rId56" Type="http://schemas.openxmlformats.org/officeDocument/2006/relationships/slideLayout" Target="../slideLayouts/slideLayout185.xml"/><Relationship Id="rId64" Type="http://schemas.openxmlformats.org/officeDocument/2006/relationships/theme" Target="../theme/theme3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137.xml"/><Relationship Id="rId51" Type="http://schemas.openxmlformats.org/officeDocument/2006/relationships/slideLayout" Target="../slideLayouts/slideLayout180.xml"/><Relationship Id="rId3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41.xml"/><Relationship Id="rId17" Type="http://schemas.openxmlformats.org/officeDocument/2006/relationships/slideLayout" Target="../slideLayouts/slideLayout146.xml"/><Relationship Id="rId25" Type="http://schemas.openxmlformats.org/officeDocument/2006/relationships/slideLayout" Target="../slideLayouts/slideLayout154.xml"/><Relationship Id="rId33" Type="http://schemas.openxmlformats.org/officeDocument/2006/relationships/slideLayout" Target="../slideLayouts/slideLayout162.xml"/><Relationship Id="rId38" Type="http://schemas.openxmlformats.org/officeDocument/2006/relationships/slideLayout" Target="../slideLayouts/slideLayout167.xml"/><Relationship Id="rId46" Type="http://schemas.openxmlformats.org/officeDocument/2006/relationships/slideLayout" Target="../slideLayouts/slideLayout175.xml"/><Relationship Id="rId59" Type="http://schemas.openxmlformats.org/officeDocument/2006/relationships/slideLayout" Target="../slideLayouts/slideLayout188.xml"/><Relationship Id="rId67" Type="http://schemas.openxmlformats.org/officeDocument/2006/relationships/tags" Target="../tags/tag160.xml"/><Relationship Id="rId20" Type="http://schemas.openxmlformats.org/officeDocument/2006/relationships/slideLayout" Target="../slideLayouts/slideLayout149.xml"/><Relationship Id="rId41" Type="http://schemas.openxmlformats.org/officeDocument/2006/relationships/slideLayout" Target="../slideLayouts/slideLayout170.xml"/><Relationship Id="rId54" Type="http://schemas.openxmlformats.org/officeDocument/2006/relationships/slideLayout" Target="../slideLayouts/slideLayout183.xml"/><Relationship Id="rId62" Type="http://schemas.openxmlformats.org/officeDocument/2006/relationships/slideLayout" Target="../slideLayouts/slideLayout191.xml"/><Relationship Id="rId70" Type="http://schemas.openxmlformats.org/officeDocument/2006/relationships/image" Target="../media/image19.jpeg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4.xml"/><Relationship Id="rId23" Type="http://schemas.openxmlformats.org/officeDocument/2006/relationships/slideLayout" Target="../slideLayouts/slideLayout152.xml"/><Relationship Id="rId28" Type="http://schemas.openxmlformats.org/officeDocument/2006/relationships/slideLayout" Target="../slideLayouts/slideLayout157.xml"/><Relationship Id="rId36" Type="http://schemas.openxmlformats.org/officeDocument/2006/relationships/slideLayout" Target="../slideLayouts/slideLayout165.xml"/><Relationship Id="rId49" Type="http://schemas.openxmlformats.org/officeDocument/2006/relationships/slideLayout" Target="../slideLayouts/slideLayout178.xml"/><Relationship Id="rId57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60.xml"/><Relationship Id="rId44" Type="http://schemas.openxmlformats.org/officeDocument/2006/relationships/slideLayout" Target="../slideLayouts/slideLayout173.xml"/><Relationship Id="rId52" Type="http://schemas.openxmlformats.org/officeDocument/2006/relationships/slideLayout" Target="../slideLayouts/slideLayout181.xml"/><Relationship Id="rId60" Type="http://schemas.openxmlformats.org/officeDocument/2006/relationships/slideLayout" Target="../slideLayouts/slideLayout189.xml"/><Relationship Id="rId65" Type="http://schemas.openxmlformats.org/officeDocument/2006/relationships/vmlDrawing" Target="../drawings/vmlDrawing76.v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2.xml"/><Relationship Id="rId18" Type="http://schemas.openxmlformats.org/officeDocument/2006/relationships/slideLayout" Target="../slideLayouts/slideLayout147.xml"/><Relationship Id="rId39" Type="http://schemas.openxmlformats.org/officeDocument/2006/relationships/slideLayout" Target="../slideLayouts/slideLayout168.xml"/><Relationship Id="rId34" Type="http://schemas.openxmlformats.org/officeDocument/2006/relationships/slideLayout" Target="../slideLayouts/slideLayout163.xml"/><Relationship Id="rId50" Type="http://schemas.openxmlformats.org/officeDocument/2006/relationships/slideLayout" Target="../slideLayouts/slideLayout179.xml"/><Relationship Id="rId55" Type="http://schemas.openxmlformats.org/officeDocument/2006/relationships/slideLayout" Target="../slideLayouts/slideLayout184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18.xml"/><Relationship Id="rId21" Type="http://schemas.openxmlformats.org/officeDocument/2006/relationships/slideLayout" Target="../slideLayouts/slideLayout213.xml"/><Relationship Id="rId42" Type="http://schemas.openxmlformats.org/officeDocument/2006/relationships/slideLayout" Target="../slideLayouts/slideLayout234.xml"/><Relationship Id="rId47" Type="http://schemas.openxmlformats.org/officeDocument/2006/relationships/slideLayout" Target="../slideLayouts/slideLayout239.xml"/><Relationship Id="rId63" Type="http://schemas.openxmlformats.org/officeDocument/2006/relationships/slideLayout" Target="../slideLayouts/slideLayout255.xml"/><Relationship Id="rId68" Type="http://schemas.openxmlformats.org/officeDocument/2006/relationships/tags" Target="../tags/tag235.xml"/><Relationship Id="rId7" Type="http://schemas.openxmlformats.org/officeDocument/2006/relationships/slideLayout" Target="../slideLayouts/slideLayout199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194.xml"/><Relationship Id="rId16" Type="http://schemas.openxmlformats.org/officeDocument/2006/relationships/slideLayout" Target="../slideLayouts/slideLayout208.xml"/><Relationship Id="rId29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03.xml"/><Relationship Id="rId24" Type="http://schemas.openxmlformats.org/officeDocument/2006/relationships/slideLayout" Target="../slideLayouts/slideLayout216.xml"/><Relationship Id="rId32" Type="http://schemas.openxmlformats.org/officeDocument/2006/relationships/slideLayout" Target="../slideLayouts/slideLayout224.xml"/><Relationship Id="rId37" Type="http://schemas.openxmlformats.org/officeDocument/2006/relationships/slideLayout" Target="../slideLayouts/slideLayout229.xml"/><Relationship Id="rId40" Type="http://schemas.openxmlformats.org/officeDocument/2006/relationships/slideLayout" Target="../slideLayouts/slideLayout232.xml"/><Relationship Id="rId45" Type="http://schemas.openxmlformats.org/officeDocument/2006/relationships/slideLayout" Target="../slideLayouts/slideLayout237.xml"/><Relationship Id="rId53" Type="http://schemas.openxmlformats.org/officeDocument/2006/relationships/slideLayout" Target="../slideLayouts/slideLayout245.xml"/><Relationship Id="rId58" Type="http://schemas.openxmlformats.org/officeDocument/2006/relationships/slideLayout" Target="../slideLayouts/slideLayout250.xml"/><Relationship Id="rId66" Type="http://schemas.openxmlformats.org/officeDocument/2006/relationships/theme" Target="../theme/theme4.xml"/><Relationship Id="rId5" Type="http://schemas.openxmlformats.org/officeDocument/2006/relationships/slideLayout" Target="../slideLayouts/slideLayout197.xml"/><Relationship Id="rId61" Type="http://schemas.openxmlformats.org/officeDocument/2006/relationships/slideLayout" Target="../slideLayouts/slideLayout253.xml"/><Relationship Id="rId19" Type="http://schemas.openxmlformats.org/officeDocument/2006/relationships/slideLayout" Target="../slideLayouts/slideLayout211.xml"/><Relationship Id="rId14" Type="http://schemas.openxmlformats.org/officeDocument/2006/relationships/slideLayout" Target="../slideLayouts/slideLayout206.xml"/><Relationship Id="rId22" Type="http://schemas.openxmlformats.org/officeDocument/2006/relationships/slideLayout" Target="../slideLayouts/slideLayout214.xml"/><Relationship Id="rId27" Type="http://schemas.openxmlformats.org/officeDocument/2006/relationships/slideLayout" Target="../slideLayouts/slideLayout219.xml"/><Relationship Id="rId30" Type="http://schemas.openxmlformats.org/officeDocument/2006/relationships/slideLayout" Target="../slideLayouts/slideLayout222.xml"/><Relationship Id="rId35" Type="http://schemas.openxmlformats.org/officeDocument/2006/relationships/slideLayout" Target="../slideLayouts/slideLayout227.xml"/><Relationship Id="rId43" Type="http://schemas.openxmlformats.org/officeDocument/2006/relationships/slideLayout" Target="../slideLayouts/slideLayout235.xml"/><Relationship Id="rId48" Type="http://schemas.openxmlformats.org/officeDocument/2006/relationships/slideLayout" Target="../slideLayouts/slideLayout240.xml"/><Relationship Id="rId56" Type="http://schemas.openxmlformats.org/officeDocument/2006/relationships/slideLayout" Target="../slideLayouts/slideLayout248.xml"/><Relationship Id="rId64" Type="http://schemas.openxmlformats.org/officeDocument/2006/relationships/slideLayout" Target="../slideLayouts/slideLayout256.xml"/><Relationship Id="rId69" Type="http://schemas.openxmlformats.org/officeDocument/2006/relationships/tags" Target="../tags/tag236.xml"/><Relationship Id="rId8" Type="http://schemas.openxmlformats.org/officeDocument/2006/relationships/slideLayout" Target="../slideLayouts/slideLayout200.xml"/><Relationship Id="rId51" Type="http://schemas.openxmlformats.org/officeDocument/2006/relationships/slideLayout" Target="../slideLayouts/slideLayout243.xml"/><Relationship Id="rId3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204.xml"/><Relationship Id="rId17" Type="http://schemas.openxmlformats.org/officeDocument/2006/relationships/slideLayout" Target="../slideLayouts/slideLayout209.xml"/><Relationship Id="rId25" Type="http://schemas.openxmlformats.org/officeDocument/2006/relationships/slideLayout" Target="../slideLayouts/slideLayout217.xml"/><Relationship Id="rId33" Type="http://schemas.openxmlformats.org/officeDocument/2006/relationships/slideLayout" Target="../slideLayouts/slideLayout225.xml"/><Relationship Id="rId38" Type="http://schemas.openxmlformats.org/officeDocument/2006/relationships/slideLayout" Target="../slideLayouts/slideLayout230.xml"/><Relationship Id="rId46" Type="http://schemas.openxmlformats.org/officeDocument/2006/relationships/slideLayout" Target="../slideLayouts/slideLayout238.xml"/><Relationship Id="rId59" Type="http://schemas.openxmlformats.org/officeDocument/2006/relationships/slideLayout" Target="../slideLayouts/slideLayout251.xml"/><Relationship Id="rId67" Type="http://schemas.openxmlformats.org/officeDocument/2006/relationships/vmlDrawing" Target="../drawings/vmlDrawing112.vml"/><Relationship Id="rId20" Type="http://schemas.openxmlformats.org/officeDocument/2006/relationships/slideLayout" Target="../slideLayouts/slideLayout212.xml"/><Relationship Id="rId41" Type="http://schemas.openxmlformats.org/officeDocument/2006/relationships/slideLayout" Target="../slideLayouts/slideLayout233.xml"/><Relationship Id="rId54" Type="http://schemas.openxmlformats.org/officeDocument/2006/relationships/slideLayout" Target="../slideLayouts/slideLayout246.xml"/><Relationship Id="rId62" Type="http://schemas.openxmlformats.org/officeDocument/2006/relationships/slideLayout" Target="../slideLayouts/slideLayout254.xml"/><Relationship Id="rId70" Type="http://schemas.openxmlformats.org/officeDocument/2006/relationships/oleObject" Target="../embeddings/oleObject112.bin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5" Type="http://schemas.openxmlformats.org/officeDocument/2006/relationships/slideLayout" Target="../slideLayouts/slideLayout207.xml"/><Relationship Id="rId23" Type="http://schemas.openxmlformats.org/officeDocument/2006/relationships/slideLayout" Target="../slideLayouts/slideLayout215.xml"/><Relationship Id="rId28" Type="http://schemas.openxmlformats.org/officeDocument/2006/relationships/slideLayout" Target="../slideLayouts/slideLayout220.xml"/><Relationship Id="rId36" Type="http://schemas.openxmlformats.org/officeDocument/2006/relationships/slideLayout" Target="../slideLayouts/slideLayout228.xml"/><Relationship Id="rId49" Type="http://schemas.openxmlformats.org/officeDocument/2006/relationships/slideLayout" Target="../slideLayouts/slideLayout241.xml"/><Relationship Id="rId57" Type="http://schemas.openxmlformats.org/officeDocument/2006/relationships/slideLayout" Target="../slideLayouts/slideLayout249.xml"/><Relationship Id="rId10" Type="http://schemas.openxmlformats.org/officeDocument/2006/relationships/slideLayout" Target="../slideLayouts/slideLayout202.xml"/><Relationship Id="rId31" Type="http://schemas.openxmlformats.org/officeDocument/2006/relationships/slideLayout" Target="../slideLayouts/slideLayout223.xml"/><Relationship Id="rId44" Type="http://schemas.openxmlformats.org/officeDocument/2006/relationships/slideLayout" Target="../slideLayouts/slideLayout236.xml"/><Relationship Id="rId52" Type="http://schemas.openxmlformats.org/officeDocument/2006/relationships/slideLayout" Target="../slideLayouts/slideLayout244.xml"/><Relationship Id="rId60" Type="http://schemas.openxmlformats.org/officeDocument/2006/relationships/slideLayout" Target="../slideLayouts/slideLayout252.xml"/><Relationship Id="rId65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Relationship Id="rId13" Type="http://schemas.openxmlformats.org/officeDocument/2006/relationships/slideLayout" Target="../slideLayouts/slideLayout205.xml"/><Relationship Id="rId18" Type="http://schemas.openxmlformats.org/officeDocument/2006/relationships/slideLayout" Target="../slideLayouts/slideLayout210.xml"/><Relationship Id="rId39" Type="http://schemas.openxmlformats.org/officeDocument/2006/relationships/slideLayout" Target="../slideLayouts/slideLayout231.xml"/><Relationship Id="rId34" Type="http://schemas.openxmlformats.org/officeDocument/2006/relationships/slideLayout" Target="../slideLayouts/slideLayout226.xml"/><Relationship Id="rId50" Type="http://schemas.openxmlformats.org/officeDocument/2006/relationships/slideLayout" Target="../slideLayouts/slideLayout242.xml"/><Relationship Id="rId55" Type="http://schemas.openxmlformats.org/officeDocument/2006/relationships/slideLayout" Target="../slideLayouts/slideLayout2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1521367912"/>
              </p:ext>
            </p:extLst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9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9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05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61558" y="3244025"/>
            <a:ext cx="13198066" cy="5904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61558" y="970963"/>
            <a:ext cx="13198066" cy="4318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700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2" r:id="rId1"/>
    <p:sldLayoutId id="2147485316" r:id="rId2"/>
    <p:sldLayoutId id="2147485253" r:id="rId3"/>
    <p:sldLayoutId id="2147485254" r:id="rId4"/>
    <p:sldLayoutId id="2147485255" r:id="rId5"/>
    <p:sldLayoutId id="2147485256" r:id="rId6"/>
    <p:sldLayoutId id="2147485257" r:id="rId7"/>
    <p:sldLayoutId id="2147485258" r:id="rId8"/>
    <p:sldLayoutId id="2147485259" r:id="rId9"/>
    <p:sldLayoutId id="2147485260" r:id="rId10"/>
    <p:sldLayoutId id="2147485261" r:id="rId11"/>
    <p:sldLayoutId id="2147485263" r:id="rId12"/>
    <p:sldLayoutId id="2147485264" r:id="rId13"/>
    <p:sldLayoutId id="2147485265" r:id="rId14"/>
    <p:sldLayoutId id="2147485266" r:id="rId15"/>
    <p:sldLayoutId id="2147485267" r:id="rId16"/>
    <p:sldLayoutId id="2147485268" r:id="rId17"/>
    <p:sldLayoutId id="2147485269" r:id="rId18"/>
    <p:sldLayoutId id="2147485270" r:id="rId19"/>
    <p:sldLayoutId id="2147485271" r:id="rId20"/>
    <p:sldLayoutId id="2147485272" r:id="rId21"/>
    <p:sldLayoutId id="2147485273" r:id="rId22"/>
    <p:sldLayoutId id="2147485274" r:id="rId23"/>
    <p:sldLayoutId id="2147485275" r:id="rId24"/>
    <p:sldLayoutId id="2147485276" r:id="rId25"/>
    <p:sldLayoutId id="2147485277" r:id="rId26"/>
    <p:sldLayoutId id="2147485317" r:id="rId27"/>
    <p:sldLayoutId id="2147485278" r:id="rId28"/>
    <p:sldLayoutId id="2147485279" r:id="rId29"/>
    <p:sldLayoutId id="2147485280" r:id="rId30"/>
    <p:sldLayoutId id="2147485281" r:id="rId31"/>
    <p:sldLayoutId id="2147485282" r:id="rId32"/>
    <p:sldLayoutId id="2147485283" r:id="rId33"/>
    <p:sldLayoutId id="2147485284" r:id="rId34"/>
    <p:sldLayoutId id="2147485285" r:id="rId35"/>
    <p:sldLayoutId id="2147485286" r:id="rId36"/>
    <p:sldLayoutId id="2147485287" r:id="rId37"/>
    <p:sldLayoutId id="2147485288" r:id="rId38"/>
    <p:sldLayoutId id="2147485289" r:id="rId39"/>
    <p:sldLayoutId id="2147485290" r:id="rId40"/>
    <p:sldLayoutId id="2147485291" r:id="rId41"/>
    <p:sldLayoutId id="2147485292" r:id="rId42"/>
    <p:sldLayoutId id="2147485293" r:id="rId43"/>
    <p:sldLayoutId id="2147485294" r:id="rId44"/>
    <p:sldLayoutId id="2147485295" r:id="rId45"/>
    <p:sldLayoutId id="2147485296" r:id="rId46"/>
    <p:sldLayoutId id="2147485297" r:id="rId47"/>
    <p:sldLayoutId id="2147485298" r:id="rId48"/>
    <p:sldLayoutId id="2147485299" r:id="rId49"/>
    <p:sldLayoutId id="2147485300" r:id="rId50"/>
    <p:sldLayoutId id="2147485301" r:id="rId51"/>
    <p:sldLayoutId id="2147485302" r:id="rId52"/>
    <p:sldLayoutId id="2147485303" r:id="rId53"/>
    <p:sldLayoutId id="2147485304" r:id="rId54"/>
    <p:sldLayoutId id="2147485305" r:id="rId55"/>
    <p:sldLayoutId id="2147485306" r:id="rId56"/>
    <p:sldLayoutId id="2147485307" r:id="rId57"/>
    <p:sldLayoutId id="2147485308" r:id="rId58"/>
    <p:sldLayoutId id="2147485309" r:id="rId59"/>
    <p:sldLayoutId id="2147485310" r:id="rId60"/>
    <p:sldLayoutId id="2147485311" r:id="rId61"/>
    <p:sldLayoutId id="2147485312" r:id="rId62"/>
    <p:sldLayoutId id="2147485313" r:id="rId63"/>
    <p:sldLayoutId id="2147485314" r:id="rId64"/>
    <p:sldLayoutId id="2147485385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395649" rtl="0" eaLnBrk="1" latinLnBrk="0" hangingPunct="1">
        <a:lnSpc>
          <a:spcPct val="90000"/>
        </a:lnSpc>
        <a:spcBef>
          <a:spcPct val="0"/>
        </a:spcBef>
        <a:buNone/>
        <a:defRPr sz="3053" kern="1200">
          <a:solidFill>
            <a:srgbClr val="37414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1395649" rtl="0" eaLnBrk="1" latinLnBrk="0" hangingPunct="1">
        <a:lnSpc>
          <a:spcPct val="110000"/>
        </a:lnSpc>
        <a:spcBef>
          <a:spcPts val="916"/>
        </a:spcBef>
        <a:spcAft>
          <a:spcPts val="458"/>
        </a:spcAft>
        <a:buClr>
          <a:srgbClr val="0077BE"/>
        </a:buClr>
        <a:buFont typeface="Arial" panose="020B0604020202020204" pitchFamily="34" charset="0"/>
        <a:buChar char="​"/>
        <a:defRPr lang="en-US" sz="1526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434080" indent="-263745" algn="l" defTabSz="1395649" rtl="0" eaLnBrk="1" latinLnBrk="0" hangingPunct="1">
        <a:lnSpc>
          <a:spcPct val="90000"/>
        </a:lnSpc>
        <a:spcBef>
          <a:spcPts val="0"/>
        </a:spcBef>
        <a:spcAft>
          <a:spcPts val="458"/>
        </a:spcAft>
        <a:buClr>
          <a:srgbClr val="0077BE"/>
        </a:buClr>
        <a:buFont typeface="Arial" panose="020B0604020202020204" pitchFamily="34" charset="0"/>
        <a:buChar char="•"/>
        <a:defRPr lang="en-US" sz="1526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780245" indent="-252755" algn="l" defTabSz="1395649" rtl="0" eaLnBrk="1" latinLnBrk="0" hangingPunct="1">
        <a:lnSpc>
          <a:spcPct val="90000"/>
        </a:lnSpc>
        <a:spcBef>
          <a:spcPts val="0"/>
        </a:spcBef>
        <a:spcAft>
          <a:spcPts val="458"/>
        </a:spcAft>
        <a:buClr>
          <a:srgbClr val="0077BE"/>
        </a:buClr>
        <a:buFont typeface="Trebuchet MS" panose="020B0603020202020204" pitchFamily="34" charset="0"/>
        <a:buChar char="–"/>
        <a:defRPr lang="en-US" sz="1526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1395649" rtl="0" eaLnBrk="1" latinLnBrk="0" hangingPunct="1">
        <a:lnSpc>
          <a:spcPct val="110000"/>
        </a:lnSpc>
        <a:spcBef>
          <a:spcPts val="458"/>
        </a:spcBef>
        <a:spcAft>
          <a:spcPts val="458"/>
        </a:spcAft>
        <a:buClr>
          <a:srgbClr val="0077BE"/>
        </a:buClr>
        <a:buFont typeface="Arial" panose="020B0604020202020204" pitchFamily="34" charset="0"/>
        <a:buChar char="​"/>
        <a:defRPr lang="en-US" sz="2137" kern="120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1395649" rtl="0" eaLnBrk="1" latinLnBrk="0" hangingPunct="1">
        <a:lnSpc>
          <a:spcPct val="100000"/>
        </a:lnSpc>
        <a:spcBef>
          <a:spcPts val="0"/>
        </a:spcBef>
        <a:spcAft>
          <a:spcPts val="458"/>
        </a:spcAft>
        <a:buClr>
          <a:srgbClr val="0077BE"/>
        </a:buClr>
        <a:buFont typeface="Arial" panose="020B0604020202020204" pitchFamily="34" charset="0"/>
        <a:buChar char="​"/>
        <a:defRPr lang="en-US" sz="2137" b="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411910" indent="-232608" algn="l" defTabSz="1395649" rtl="0" eaLnBrk="1" latinLnBrk="0" hangingPunct="1">
        <a:lnSpc>
          <a:spcPct val="90000"/>
        </a:lnSpc>
        <a:spcBef>
          <a:spcPts val="0"/>
        </a:spcBef>
        <a:spcAft>
          <a:spcPts val="916"/>
        </a:spcAft>
        <a:buClr>
          <a:srgbClr val="0077BE"/>
        </a:buClr>
        <a:buFont typeface="Arial" panose="020B0604020202020204" pitchFamily="34" charset="0"/>
        <a:buChar char="•"/>
        <a:defRPr lang="en-US" sz="2137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1395649" rtl="0" eaLnBrk="1" latinLnBrk="0" hangingPunct="1">
        <a:lnSpc>
          <a:spcPct val="90000"/>
        </a:lnSpc>
        <a:spcBef>
          <a:spcPts val="1374"/>
        </a:spcBef>
        <a:spcAft>
          <a:spcPts val="1374"/>
        </a:spcAft>
        <a:buClr>
          <a:srgbClr val="0077BE"/>
        </a:buClr>
        <a:buFont typeface="Arial" panose="020B0604020202020204" pitchFamily="34" charset="0"/>
        <a:buChar char="​"/>
        <a:defRPr lang="en-US" sz="6716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1395649" rtl="0" eaLnBrk="1" latinLnBrk="0" hangingPunct="1">
        <a:lnSpc>
          <a:spcPct val="90000"/>
        </a:lnSpc>
        <a:spcBef>
          <a:spcPts val="1374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8242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1395649" rtl="0" eaLnBrk="1" latinLnBrk="0" hangingPunct="1">
        <a:lnSpc>
          <a:spcPct val="100000"/>
        </a:lnSpc>
        <a:spcBef>
          <a:spcPts val="0"/>
        </a:spcBef>
        <a:spcAft>
          <a:spcPts val="1374"/>
        </a:spcAft>
        <a:buClr>
          <a:srgbClr val="0077BE"/>
        </a:buClr>
        <a:buFont typeface="Arial" panose="020B0604020202020204" pitchFamily="34" charset="0"/>
        <a:buChar char="​"/>
        <a:defRPr lang="en-US" sz="3663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1pPr>
      <a:lvl2pPr marL="697824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2pPr>
      <a:lvl3pPr marL="1395649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3pPr>
      <a:lvl4pPr marL="2093473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4pPr>
      <a:lvl5pPr marL="2791297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5pPr>
      <a:lvl6pPr marL="3489122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6pPr>
      <a:lvl7pPr marL="4186946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7pPr>
      <a:lvl8pPr marL="4884771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8pPr>
      <a:lvl9pPr marL="5582595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2" userDrawn="1">
          <p15:clr>
            <a:srgbClr val="F26B43"/>
          </p15:clr>
        </p15:guide>
        <p15:guide id="2" pos="603" userDrawn="1">
          <p15:clr>
            <a:srgbClr val="F26B43"/>
          </p15:clr>
        </p15:guide>
        <p15:guide id="3" pos="8921" userDrawn="1">
          <p15:clr>
            <a:srgbClr val="F26B43"/>
          </p15:clr>
        </p15:guide>
        <p15:guide id="4" orient="horz" pos="604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7"/>
            </p:custDataLst>
          </p:nvPr>
        </p:nvGraphicFramePr>
        <p:xfrm>
          <a:off x="1972" y="2480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4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972" y="2480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8"/>
            </p:custDataLst>
          </p:nvPr>
        </p:nvSpPr>
        <p:spPr>
          <a:xfrm>
            <a:off x="0" y="0"/>
            <a:ext cx="242298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8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3665110" y="10034725"/>
            <a:ext cx="472481" cy="1908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1339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24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13394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4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5" y="10034724"/>
            <a:ext cx="1576955" cy="1908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4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61557" y="3244025"/>
            <a:ext cx="13198067" cy="5904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61557" y="970965"/>
            <a:ext cx="13198067" cy="34349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9C47C15-FB96-414D-91AA-CBFE63B2E776}"/>
              </a:ext>
            </a:extLst>
          </p:cNvPr>
          <p:cNvSpPr/>
          <p:nvPr userDrawn="1"/>
        </p:nvSpPr>
        <p:spPr>
          <a:xfrm>
            <a:off x="13388869" y="285935"/>
            <a:ext cx="1237518" cy="15267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77B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77B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992" dirty="0">
                <a:solidFill>
                  <a:srgbClr val="C8C8C8"/>
                </a:solidFill>
              </a:rPr>
              <a:t>КОНФИДЕНЦИАЛЬНО</a:t>
            </a:r>
            <a:endParaRPr lang="en-US" sz="992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867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0" r:id="rId1"/>
    <p:sldLayoutId id="2147485321" r:id="rId2"/>
    <p:sldLayoutId id="2147485322" r:id="rId3"/>
    <p:sldLayoutId id="2147485323" r:id="rId4"/>
    <p:sldLayoutId id="2147485324" r:id="rId5"/>
    <p:sldLayoutId id="2147485325" r:id="rId6"/>
    <p:sldLayoutId id="2147485326" r:id="rId7"/>
    <p:sldLayoutId id="2147485327" r:id="rId8"/>
    <p:sldLayoutId id="2147485328" r:id="rId9"/>
    <p:sldLayoutId id="2147485329" r:id="rId10"/>
    <p:sldLayoutId id="2147485330" r:id="rId11"/>
    <p:sldLayoutId id="2147485331" r:id="rId12"/>
    <p:sldLayoutId id="2147485332" r:id="rId13"/>
    <p:sldLayoutId id="2147485333" r:id="rId14"/>
    <p:sldLayoutId id="2147485334" r:id="rId15"/>
    <p:sldLayoutId id="2147485335" r:id="rId16"/>
    <p:sldLayoutId id="2147485336" r:id="rId17"/>
    <p:sldLayoutId id="2147485337" r:id="rId18"/>
    <p:sldLayoutId id="2147485338" r:id="rId19"/>
    <p:sldLayoutId id="2147485339" r:id="rId20"/>
    <p:sldLayoutId id="2147485340" r:id="rId21"/>
    <p:sldLayoutId id="2147485341" r:id="rId22"/>
    <p:sldLayoutId id="2147485342" r:id="rId23"/>
    <p:sldLayoutId id="2147485343" r:id="rId24"/>
    <p:sldLayoutId id="2147485344" r:id="rId25"/>
    <p:sldLayoutId id="2147485345" r:id="rId26"/>
    <p:sldLayoutId id="2147485346" r:id="rId27"/>
    <p:sldLayoutId id="2147485347" r:id="rId28"/>
    <p:sldLayoutId id="2147485348" r:id="rId29"/>
    <p:sldLayoutId id="2147485349" r:id="rId30"/>
    <p:sldLayoutId id="2147485350" r:id="rId31"/>
    <p:sldLayoutId id="2147485351" r:id="rId32"/>
    <p:sldLayoutId id="2147485352" r:id="rId33"/>
    <p:sldLayoutId id="2147485353" r:id="rId34"/>
    <p:sldLayoutId id="2147485354" r:id="rId35"/>
    <p:sldLayoutId id="2147485355" r:id="rId36"/>
    <p:sldLayoutId id="2147485356" r:id="rId37"/>
    <p:sldLayoutId id="2147485357" r:id="rId38"/>
    <p:sldLayoutId id="2147485358" r:id="rId39"/>
    <p:sldLayoutId id="2147485359" r:id="rId40"/>
    <p:sldLayoutId id="2147485360" r:id="rId41"/>
    <p:sldLayoutId id="2147485361" r:id="rId42"/>
    <p:sldLayoutId id="2147485362" r:id="rId43"/>
    <p:sldLayoutId id="2147485363" r:id="rId44"/>
    <p:sldLayoutId id="2147485364" r:id="rId45"/>
    <p:sldLayoutId id="2147485365" r:id="rId46"/>
    <p:sldLayoutId id="2147485366" r:id="rId47"/>
    <p:sldLayoutId id="2147485367" r:id="rId48"/>
    <p:sldLayoutId id="2147485368" r:id="rId49"/>
    <p:sldLayoutId id="2147485369" r:id="rId50"/>
    <p:sldLayoutId id="2147485370" r:id="rId51"/>
    <p:sldLayoutId id="2147485371" r:id="rId52"/>
    <p:sldLayoutId id="2147485372" r:id="rId53"/>
    <p:sldLayoutId id="2147485373" r:id="rId54"/>
    <p:sldLayoutId id="2147485374" r:id="rId55"/>
    <p:sldLayoutId id="2147485375" r:id="rId56"/>
    <p:sldLayoutId id="2147485376" r:id="rId57"/>
    <p:sldLayoutId id="2147485377" r:id="rId58"/>
    <p:sldLayoutId id="2147485378" r:id="rId59"/>
    <p:sldLayoutId id="2147485379" r:id="rId60"/>
    <p:sldLayoutId id="2147485380" r:id="rId61"/>
    <p:sldLayoutId id="2147485381" r:id="rId62"/>
    <p:sldLayoutId id="2147485382" r:id="rId63"/>
    <p:sldLayoutId id="2147485384" r:id="rId6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133947" rtl="0" eaLnBrk="1" latinLnBrk="0" hangingPunct="1">
        <a:lnSpc>
          <a:spcPct val="90000"/>
        </a:lnSpc>
        <a:spcBef>
          <a:spcPct val="0"/>
        </a:spcBef>
        <a:buNone/>
        <a:defRPr sz="2480" kern="1200">
          <a:solidFill>
            <a:srgbClr val="37414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1133947" rtl="0" eaLnBrk="1" latinLnBrk="0" hangingPunct="1">
        <a:lnSpc>
          <a:spcPct val="110000"/>
        </a:lnSpc>
        <a:spcBef>
          <a:spcPts val="744"/>
        </a:spcBef>
        <a:spcAft>
          <a:spcPts val="372"/>
        </a:spcAft>
        <a:buClr>
          <a:srgbClr val="0077BE"/>
        </a:buClr>
        <a:buFont typeface="Arial" panose="020B0604020202020204" pitchFamily="34" charset="0"/>
        <a:buChar char="​"/>
        <a:defRPr lang="en-US" sz="1240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52684" indent="-214289" algn="l" defTabSz="1133947" rtl="0" eaLnBrk="1" latinLnBrk="0" hangingPunct="1">
        <a:lnSpc>
          <a:spcPct val="90000"/>
        </a:lnSpc>
        <a:spcBef>
          <a:spcPts val="0"/>
        </a:spcBef>
        <a:spcAft>
          <a:spcPts val="372"/>
        </a:spcAft>
        <a:buClr>
          <a:srgbClr val="0077BE"/>
        </a:buClr>
        <a:buFont typeface="Arial" panose="020B0604020202020204" pitchFamily="34" charset="0"/>
        <a:buChar char="•"/>
        <a:defRPr lang="en-US" sz="1240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633939" indent="-205361" algn="l" defTabSz="1133947" rtl="0" eaLnBrk="1" latinLnBrk="0" hangingPunct="1">
        <a:lnSpc>
          <a:spcPct val="90000"/>
        </a:lnSpc>
        <a:spcBef>
          <a:spcPts val="0"/>
        </a:spcBef>
        <a:spcAft>
          <a:spcPts val="372"/>
        </a:spcAft>
        <a:buClr>
          <a:srgbClr val="0077BE"/>
        </a:buClr>
        <a:buFont typeface="Trebuchet MS" panose="020B0603020202020204" pitchFamily="34" charset="0"/>
        <a:buChar char="–"/>
        <a:defRPr lang="en-US" sz="1240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1133947" rtl="0" eaLnBrk="1" latinLnBrk="0" hangingPunct="1">
        <a:lnSpc>
          <a:spcPct val="110000"/>
        </a:lnSpc>
        <a:spcBef>
          <a:spcPts val="372"/>
        </a:spcBef>
        <a:spcAft>
          <a:spcPts val="372"/>
        </a:spcAft>
        <a:buClr>
          <a:srgbClr val="0077BE"/>
        </a:buClr>
        <a:buFont typeface="Arial" panose="020B0604020202020204" pitchFamily="34" charset="0"/>
        <a:buChar char="​"/>
        <a:defRPr lang="en-US" sz="1736" kern="120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1133947" rtl="0" eaLnBrk="1" latinLnBrk="0" hangingPunct="1">
        <a:lnSpc>
          <a:spcPct val="100000"/>
        </a:lnSpc>
        <a:spcBef>
          <a:spcPts val="0"/>
        </a:spcBef>
        <a:spcAft>
          <a:spcPts val="372"/>
        </a:spcAft>
        <a:buClr>
          <a:srgbClr val="0077BE"/>
        </a:buClr>
        <a:buFont typeface="Arial" panose="020B0604020202020204" pitchFamily="34" charset="0"/>
        <a:buChar char="​"/>
        <a:defRPr lang="en-US" sz="1736" b="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334672" indent="-188991" algn="l" defTabSz="1133947" rtl="0" eaLnBrk="1" latinLnBrk="0" hangingPunct="1">
        <a:lnSpc>
          <a:spcPct val="90000"/>
        </a:lnSpc>
        <a:spcBef>
          <a:spcPts val="0"/>
        </a:spcBef>
        <a:spcAft>
          <a:spcPts val="744"/>
        </a:spcAft>
        <a:buClr>
          <a:srgbClr val="0077BE"/>
        </a:buClr>
        <a:buFont typeface="Arial" panose="020B0604020202020204" pitchFamily="34" charset="0"/>
        <a:buChar char="•"/>
        <a:defRPr lang="en-US" sz="1736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1133947" rtl="0" eaLnBrk="1" latinLnBrk="0" hangingPunct="1">
        <a:lnSpc>
          <a:spcPct val="90000"/>
        </a:lnSpc>
        <a:spcBef>
          <a:spcPts val="1116"/>
        </a:spcBef>
        <a:spcAft>
          <a:spcPts val="1116"/>
        </a:spcAft>
        <a:buClr>
          <a:srgbClr val="0077BE"/>
        </a:buClr>
        <a:buFont typeface="Arial" panose="020B0604020202020204" pitchFamily="34" charset="0"/>
        <a:buChar char="​"/>
        <a:defRPr lang="en-US" sz="5456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1133947" rtl="0" eaLnBrk="1" latinLnBrk="0" hangingPunct="1">
        <a:lnSpc>
          <a:spcPct val="90000"/>
        </a:lnSpc>
        <a:spcBef>
          <a:spcPts val="1116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6697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1133947" rtl="0" eaLnBrk="1" latinLnBrk="0" hangingPunct="1">
        <a:lnSpc>
          <a:spcPct val="100000"/>
        </a:lnSpc>
        <a:spcBef>
          <a:spcPts val="0"/>
        </a:spcBef>
        <a:spcAft>
          <a:spcPts val="1116"/>
        </a:spcAft>
        <a:buClr>
          <a:srgbClr val="0077BE"/>
        </a:buClr>
        <a:buFont typeface="Arial" panose="020B0604020202020204" pitchFamily="34" charset="0"/>
        <a:buChar char="​"/>
        <a:defRPr lang="en-US" sz="2976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1133947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1pPr>
      <a:lvl2pPr marL="566974" algn="l" defTabSz="1133947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2pPr>
      <a:lvl3pPr marL="1133947" algn="l" defTabSz="1133947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3pPr>
      <a:lvl4pPr marL="1700921" algn="l" defTabSz="1133947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4pPr>
      <a:lvl5pPr marL="2267895" algn="l" defTabSz="1133947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5pPr>
      <a:lvl6pPr marL="2834869" algn="l" defTabSz="1133947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6pPr>
      <a:lvl7pPr marL="3401842" algn="l" defTabSz="1133947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7pPr>
      <a:lvl8pPr marL="3968816" algn="l" defTabSz="1133947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8pPr>
      <a:lvl9pPr marL="4535790" algn="l" defTabSz="1133947" rtl="0" eaLnBrk="1" latinLnBrk="0" hangingPunct="1">
        <a:defRPr sz="22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310">
          <p15:clr>
            <a:srgbClr val="F26B43"/>
          </p15:clr>
        </p15:guide>
        <p15:guide id="2" pos="395">
          <p15:clr>
            <a:srgbClr val="F26B43"/>
          </p15:clr>
        </p15:guide>
        <p15:guide id="3" pos="5845">
          <p15:clr>
            <a:srgbClr val="F26B43"/>
          </p15:clr>
        </p15:guide>
        <p15:guide id="4" orient="horz" pos="387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6"/>
            </p:custDataLst>
          </p:nvPr>
        </p:nvGraphicFramePr>
        <p:xfrm>
          <a:off x="1973" y="2480"/>
          <a:ext cx="1966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2" name="think-cell Slide" r:id="rId68" imgW="270" imgH="270" progId="TCLayout.ActiveDocument.1">
                  <p:embed/>
                </p:oleObj>
              </mc:Choice>
              <mc:Fallback>
                <p:oleObj name="think-cell Slide" r:id="rId6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973" y="2480"/>
                        <a:ext cx="1966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7"/>
            </p:custDataLst>
          </p:nvPr>
        </p:nvSpPr>
        <p:spPr>
          <a:xfrm>
            <a:off x="1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339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61557" y="3244025"/>
            <a:ext cx="13198066" cy="5904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61557" y="970965"/>
            <a:ext cx="13198066" cy="323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77D4B534-550B-4346-8337-785870E6F8BD}"/>
              </a:ext>
            </a:extLst>
          </p:cNvPr>
          <p:cNvGrpSpPr/>
          <p:nvPr userDrawn="1"/>
        </p:nvGrpSpPr>
        <p:grpSpPr>
          <a:xfrm>
            <a:off x="960639" y="379939"/>
            <a:ext cx="1688370" cy="409082"/>
            <a:chOff x="630000" y="228600"/>
            <a:chExt cx="1338500" cy="31750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="" xmlns:a16="http://schemas.microsoft.com/office/drawing/2014/main" id="{EC9B7134-C333-4A4E-9EA5-F64F777EFADA}"/>
                </a:ext>
              </a:extLst>
            </p:cNvPr>
            <p:cNvSpPr/>
            <p:nvPr/>
          </p:nvSpPr>
          <p:spPr>
            <a:xfrm>
              <a:off x="630000" y="228600"/>
              <a:ext cx="1338500" cy="317500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77B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endParaRPr lang="en-US" sz="1403" dirty="0">
                <a:solidFill>
                  <a:srgbClr val="FFFFFF"/>
                </a:solidFill>
              </a:endParaRPr>
            </a:p>
          </p:txBody>
        </p:sp>
        <p:pic>
          <p:nvPicPr>
            <p:cNvPr id="13" name="Picture 2" descr="Подмосковный Росреестр вышел на штатный режим работы после сбоя в системе">
              <a:extLst>
                <a:ext uri="{FF2B5EF4-FFF2-40B4-BE49-F238E27FC236}">
                  <a16:creationId xmlns="" xmlns:a16="http://schemas.microsoft.com/office/drawing/2014/main" id="{D72C1763-94BB-40E9-8331-9CF8D00B53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65" b="30254"/>
            <a:stretch/>
          </p:blipFill>
          <p:spPr bwMode="auto">
            <a:xfrm>
              <a:off x="702330" y="249748"/>
              <a:ext cx="1155741" cy="27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96726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87" r:id="rId1"/>
    <p:sldLayoutId id="2147485388" r:id="rId2"/>
    <p:sldLayoutId id="2147485389" r:id="rId3"/>
    <p:sldLayoutId id="2147485390" r:id="rId4"/>
    <p:sldLayoutId id="2147485391" r:id="rId5"/>
    <p:sldLayoutId id="2147485392" r:id="rId6"/>
    <p:sldLayoutId id="2147485393" r:id="rId7"/>
    <p:sldLayoutId id="2147485394" r:id="rId8"/>
    <p:sldLayoutId id="2147485395" r:id="rId9"/>
    <p:sldLayoutId id="2147485396" r:id="rId10"/>
    <p:sldLayoutId id="2147485397" r:id="rId11"/>
    <p:sldLayoutId id="2147485398" r:id="rId12"/>
    <p:sldLayoutId id="2147485399" r:id="rId13"/>
    <p:sldLayoutId id="2147485400" r:id="rId14"/>
    <p:sldLayoutId id="2147485401" r:id="rId15"/>
    <p:sldLayoutId id="2147485402" r:id="rId16"/>
    <p:sldLayoutId id="2147485403" r:id="rId17"/>
    <p:sldLayoutId id="2147485404" r:id="rId18"/>
    <p:sldLayoutId id="2147485405" r:id="rId19"/>
    <p:sldLayoutId id="2147485406" r:id="rId20"/>
    <p:sldLayoutId id="2147485407" r:id="rId21"/>
    <p:sldLayoutId id="2147485408" r:id="rId22"/>
    <p:sldLayoutId id="2147485409" r:id="rId23"/>
    <p:sldLayoutId id="2147485410" r:id="rId24"/>
    <p:sldLayoutId id="2147485411" r:id="rId25"/>
    <p:sldLayoutId id="2147485412" r:id="rId26"/>
    <p:sldLayoutId id="2147485413" r:id="rId27"/>
    <p:sldLayoutId id="2147485414" r:id="rId28"/>
    <p:sldLayoutId id="2147485415" r:id="rId29"/>
    <p:sldLayoutId id="2147485416" r:id="rId30"/>
    <p:sldLayoutId id="2147485417" r:id="rId31"/>
    <p:sldLayoutId id="2147485418" r:id="rId32"/>
    <p:sldLayoutId id="2147485419" r:id="rId33"/>
    <p:sldLayoutId id="2147485420" r:id="rId34"/>
    <p:sldLayoutId id="2147485421" r:id="rId35"/>
    <p:sldLayoutId id="2147485422" r:id="rId36"/>
    <p:sldLayoutId id="2147485423" r:id="rId37"/>
    <p:sldLayoutId id="2147485424" r:id="rId38"/>
    <p:sldLayoutId id="2147485425" r:id="rId39"/>
    <p:sldLayoutId id="2147485426" r:id="rId40"/>
    <p:sldLayoutId id="2147485427" r:id="rId41"/>
    <p:sldLayoutId id="2147485428" r:id="rId42"/>
    <p:sldLayoutId id="2147485429" r:id="rId43"/>
    <p:sldLayoutId id="2147485430" r:id="rId44"/>
    <p:sldLayoutId id="2147485431" r:id="rId45"/>
    <p:sldLayoutId id="2147485432" r:id="rId46"/>
    <p:sldLayoutId id="2147485433" r:id="rId47"/>
    <p:sldLayoutId id="2147485434" r:id="rId48"/>
    <p:sldLayoutId id="2147485435" r:id="rId49"/>
    <p:sldLayoutId id="2147485436" r:id="rId50"/>
    <p:sldLayoutId id="2147485437" r:id="rId51"/>
    <p:sldLayoutId id="2147485438" r:id="rId52"/>
    <p:sldLayoutId id="2147485439" r:id="rId53"/>
    <p:sldLayoutId id="2147485440" r:id="rId54"/>
    <p:sldLayoutId id="2147485441" r:id="rId55"/>
    <p:sldLayoutId id="2147485442" r:id="rId56"/>
    <p:sldLayoutId id="2147485443" r:id="rId57"/>
    <p:sldLayoutId id="2147485444" r:id="rId58"/>
    <p:sldLayoutId id="2147485445" r:id="rId59"/>
    <p:sldLayoutId id="2147485446" r:id="rId60"/>
    <p:sldLayoutId id="2147485447" r:id="rId61"/>
    <p:sldLayoutId id="2147485448" r:id="rId62"/>
    <p:sldLayoutId id="2147485449" r:id="rId63"/>
  </p:sldLayoutIdLst>
  <p:transition spd="slow">
    <p:push/>
  </p:transition>
  <p:hf hdr="0" ftr="0" dt="0"/>
  <p:txStyles>
    <p:titleStyle>
      <a:lvl1pPr algn="l" defTabSz="1069190" rtl="0" eaLnBrk="1" latinLnBrk="0" hangingPunct="1">
        <a:lnSpc>
          <a:spcPct val="90000"/>
        </a:lnSpc>
        <a:spcBef>
          <a:spcPct val="0"/>
        </a:spcBef>
        <a:buNone/>
        <a:defRPr sz="2339" kern="1200">
          <a:solidFill>
            <a:srgbClr val="37414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1069190" rtl="0" eaLnBrk="1" latinLnBrk="0" hangingPunct="1">
        <a:lnSpc>
          <a:spcPct val="110000"/>
        </a:lnSpc>
        <a:spcBef>
          <a:spcPts val="702"/>
        </a:spcBef>
        <a:spcAft>
          <a:spcPts val="351"/>
        </a:spcAft>
        <a:buClr>
          <a:srgbClr val="0077BE"/>
        </a:buClr>
        <a:buFont typeface="Arial" panose="020B0604020202020204" pitchFamily="34" charset="0"/>
        <a:buChar char="​"/>
        <a:defRPr lang="en-US" sz="1403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32543" indent="-202052" algn="l" defTabSz="1069190" rtl="0" eaLnBrk="1" latinLnBrk="0" hangingPunct="1">
        <a:lnSpc>
          <a:spcPct val="90000"/>
        </a:lnSpc>
        <a:spcBef>
          <a:spcPts val="0"/>
        </a:spcBef>
        <a:spcAft>
          <a:spcPts val="351"/>
        </a:spcAft>
        <a:buClr>
          <a:srgbClr val="0077BE"/>
        </a:buClr>
        <a:buFont typeface="Arial" panose="020B0604020202020204" pitchFamily="34" charset="0"/>
        <a:buChar char="•"/>
        <a:defRPr lang="en-US" sz="1403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97736" indent="-193633" algn="l" defTabSz="1069190" rtl="0" eaLnBrk="1" latinLnBrk="0" hangingPunct="1">
        <a:lnSpc>
          <a:spcPct val="90000"/>
        </a:lnSpc>
        <a:spcBef>
          <a:spcPts val="0"/>
        </a:spcBef>
        <a:spcAft>
          <a:spcPts val="351"/>
        </a:spcAft>
        <a:buClr>
          <a:srgbClr val="0077BE"/>
        </a:buClr>
        <a:buFont typeface="Trebuchet MS" panose="020B0603020202020204" pitchFamily="34" charset="0"/>
        <a:buChar char="–"/>
        <a:defRPr lang="en-US" sz="1403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1069190" rtl="0" eaLnBrk="1" latinLnBrk="0" hangingPunct="1">
        <a:lnSpc>
          <a:spcPct val="110000"/>
        </a:lnSpc>
        <a:spcBef>
          <a:spcPts val="351"/>
        </a:spcBef>
        <a:spcAft>
          <a:spcPts val="351"/>
        </a:spcAft>
        <a:buClr>
          <a:srgbClr val="0077BE"/>
        </a:buClr>
        <a:buFont typeface="Arial" panose="020B0604020202020204" pitchFamily="34" charset="0"/>
        <a:buChar char="​"/>
        <a:defRPr lang="en-US" sz="1871" kern="120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1069190" rtl="0" eaLnBrk="1" latinLnBrk="0" hangingPunct="1">
        <a:lnSpc>
          <a:spcPct val="100000"/>
        </a:lnSpc>
        <a:spcBef>
          <a:spcPts val="0"/>
        </a:spcBef>
        <a:spcAft>
          <a:spcPts val="351"/>
        </a:spcAft>
        <a:buClr>
          <a:srgbClr val="0077BE"/>
        </a:buClr>
        <a:buFont typeface="Arial" panose="020B0604020202020204" pitchFamily="34" charset="0"/>
        <a:buChar char="​"/>
        <a:defRPr lang="en-US" sz="1871" b="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315560" indent="-178198" algn="l" defTabSz="1069190" rtl="0" eaLnBrk="1" latinLnBrk="0" hangingPunct="1">
        <a:lnSpc>
          <a:spcPct val="90000"/>
        </a:lnSpc>
        <a:spcBef>
          <a:spcPts val="0"/>
        </a:spcBef>
        <a:spcAft>
          <a:spcPts val="702"/>
        </a:spcAft>
        <a:buClr>
          <a:srgbClr val="0077BE"/>
        </a:buClr>
        <a:buFont typeface="Arial" panose="020B0604020202020204" pitchFamily="34" charset="0"/>
        <a:buChar char="•"/>
        <a:defRPr lang="en-US" sz="187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1069190" rtl="0" eaLnBrk="1" latinLnBrk="0" hangingPunct="1">
        <a:lnSpc>
          <a:spcPct val="90000"/>
        </a:lnSpc>
        <a:spcBef>
          <a:spcPts val="1052"/>
        </a:spcBef>
        <a:spcAft>
          <a:spcPts val="1052"/>
        </a:spcAft>
        <a:buClr>
          <a:srgbClr val="0077BE"/>
        </a:buClr>
        <a:buFont typeface="Arial" panose="020B0604020202020204" pitchFamily="34" charset="0"/>
        <a:buChar char="​"/>
        <a:defRPr lang="en-US" sz="5145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1069190" rtl="0" eaLnBrk="1" latinLnBrk="0" hangingPunct="1">
        <a:lnSpc>
          <a:spcPct val="90000"/>
        </a:lnSpc>
        <a:spcBef>
          <a:spcPts val="1052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6314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1069190" rtl="0" eaLnBrk="1" latinLnBrk="0" hangingPunct="1">
        <a:lnSpc>
          <a:spcPct val="100000"/>
        </a:lnSpc>
        <a:spcBef>
          <a:spcPts val="0"/>
        </a:spcBef>
        <a:spcAft>
          <a:spcPts val="1052"/>
        </a:spcAft>
        <a:buClr>
          <a:srgbClr val="0077BE"/>
        </a:buClr>
        <a:buFont typeface="Arial" panose="020B0604020202020204" pitchFamily="34" charset="0"/>
        <a:buChar char="​"/>
        <a:defRPr lang="en-US" sz="2806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1069190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1pPr>
      <a:lvl2pPr marL="534595" algn="l" defTabSz="1069190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2pPr>
      <a:lvl3pPr marL="1069190" algn="l" defTabSz="1069190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3pPr>
      <a:lvl4pPr marL="1603784" algn="l" defTabSz="1069190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4pPr>
      <a:lvl5pPr marL="2138379" algn="l" defTabSz="1069190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5pPr>
      <a:lvl6pPr marL="2672974" algn="l" defTabSz="1069190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6pPr>
      <a:lvl7pPr marL="3207569" algn="l" defTabSz="1069190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7pPr>
      <a:lvl8pPr marL="3742164" algn="l" defTabSz="1069190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8pPr>
      <a:lvl9pPr marL="4276759" algn="l" defTabSz="1069190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310">
          <p15:clr>
            <a:srgbClr val="F26B43"/>
          </p15:clr>
        </p15:guide>
        <p15:guide id="2" pos="395">
          <p15:clr>
            <a:srgbClr val="F26B43"/>
          </p15:clr>
        </p15:guide>
        <p15:guide id="3" pos="5845">
          <p15:clr>
            <a:srgbClr val="F26B43"/>
          </p15:clr>
        </p15:guide>
        <p15:guide id="4" orient="horz" pos="387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8"/>
            </p:custDataLst>
            <p:extLst/>
          </p:nvPr>
        </p:nvGraphicFramePr>
        <p:xfrm>
          <a:off x="1971" y="2478"/>
          <a:ext cx="1967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7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971" y="2478"/>
                        <a:ext cx="1967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9"/>
            </p:custDataLst>
          </p:nvPr>
        </p:nvSpPr>
        <p:spPr>
          <a:xfrm>
            <a:off x="0" y="0"/>
            <a:ext cx="242297" cy="247496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053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4135695" y="9990737"/>
            <a:ext cx="472480" cy="23480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395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526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3956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526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2077164" y="9985629"/>
            <a:ext cx="1576955" cy="2399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52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961558" y="3244025"/>
            <a:ext cx="13198066" cy="5904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61558" y="970963"/>
            <a:ext cx="13198066" cy="4318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4964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2" r:id="rId1"/>
    <p:sldLayoutId id="2147485453" r:id="rId2"/>
    <p:sldLayoutId id="2147485454" r:id="rId3"/>
    <p:sldLayoutId id="2147485455" r:id="rId4"/>
    <p:sldLayoutId id="2147485456" r:id="rId5"/>
    <p:sldLayoutId id="2147485457" r:id="rId6"/>
    <p:sldLayoutId id="2147485458" r:id="rId7"/>
    <p:sldLayoutId id="2147485459" r:id="rId8"/>
    <p:sldLayoutId id="2147485460" r:id="rId9"/>
    <p:sldLayoutId id="2147485461" r:id="rId10"/>
    <p:sldLayoutId id="2147485462" r:id="rId11"/>
    <p:sldLayoutId id="2147485463" r:id="rId12"/>
    <p:sldLayoutId id="2147485464" r:id="rId13"/>
    <p:sldLayoutId id="2147485465" r:id="rId14"/>
    <p:sldLayoutId id="2147485466" r:id="rId15"/>
    <p:sldLayoutId id="2147485467" r:id="rId16"/>
    <p:sldLayoutId id="2147485468" r:id="rId17"/>
    <p:sldLayoutId id="2147485469" r:id="rId18"/>
    <p:sldLayoutId id="2147485470" r:id="rId19"/>
    <p:sldLayoutId id="2147485471" r:id="rId20"/>
    <p:sldLayoutId id="2147485472" r:id="rId21"/>
    <p:sldLayoutId id="2147485473" r:id="rId22"/>
    <p:sldLayoutId id="2147485474" r:id="rId23"/>
    <p:sldLayoutId id="2147485475" r:id="rId24"/>
    <p:sldLayoutId id="2147485476" r:id="rId25"/>
    <p:sldLayoutId id="2147485477" r:id="rId26"/>
    <p:sldLayoutId id="2147485478" r:id="rId27"/>
    <p:sldLayoutId id="2147485479" r:id="rId28"/>
    <p:sldLayoutId id="2147485480" r:id="rId29"/>
    <p:sldLayoutId id="2147485481" r:id="rId30"/>
    <p:sldLayoutId id="2147485482" r:id="rId31"/>
    <p:sldLayoutId id="2147485483" r:id="rId32"/>
    <p:sldLayoutId id="2147485484" r:id="rId33"/>
    <p:sldLayoutId id="2147485485" r:id="rId34"/>
    <p:sldLayoutId id="2147485486" r:id="rId35"/>
    <p:sldLayoutId id="2147485487" r:id="rId36"/>
    <p:sldLayoutId id="2147485488" r:id="rId37"/>
    <p:sldLayoutId id="2147485489" r:id="rId38"/>
    <p:sldLayoutId id="2147485490" r:id="rId39"/>
    <p:sldLayoutId id="2147485491" r:id="rId40"/>
    <p:sldLayoutId id="2147485492" r:id="rId41"/>
    <p:sldLayoutId id="2147485493" r:id="rId42"/>
    <p:sldLayoutId id="2147485494" r:id="rId43"/>
    <p:sldLayoutId id="2147485495" r:id="rId44"/>
    <p:sldLayoutId id="2147485496" r:id="rId45"/>
    <p:sldLayoutId id="2147485497" r:id="rId46"/>
    <p:sldLayoutId id="2147485498" r:id="rId47"/>
    <p:sldLayoutId id="2147485499" r:id="rId48"/>
    <p:sldLayoutId id="2147485500" r:id="rId49"/>
    <p:sldLayoutId id="2147485501" r:id="rId50"/>
    <p:sldLayoutId id="2147485502" r:id="rId51"/>
    <p:sldLayoutId id="2147485503" r:id="rId52"/>
    <p:sldLayoutId id="2147485504" r:id="rId53"/>
    <p:sldLayoutId id="2147485505" r:id="rId54"/>
    <p:sldLayoutId id="2147485506" r:id="rId55"/>
    <p:sldLayoutId id="2147485507" r:id="rId56"/>
    <p:sldLayoutId id="2147485508" r:id="rId57"/>
    <p:sldLayoutId id="2147485509" r:id="rId58"/>
    <p:sldLayoutId id="2147485510" r:id="rId59"/>
    <p:sldLayoutId id="2147485511" r:id="rId60"/>
    <p:sldLayoutId id="2147485512" r:id="rId61"/>
    <p:sldLayoutId id="2147485513" r:id="rId62"/>
    <p:sldLayoutId id="2147485514" r:id="rId63"/>
    <p:sldLayoutId id="2147485515" r:id="rId64"/>
    <p:sldLayoutId id="2147485516" r:id="rId6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1395649" rtl="0" eaLnBrk="1" latinLnBrk="0" hangingPunct="1">
        <a:lnSpc>
          <a:spcPct val="90000"/>
        </a:lnSpc>
        <a:spcBef>
          <a:spcPct val="0"/>
        </a:spcBef>
        <a:buNone/>
        <a:defRPr sz="3053" kern="1200">
          <a:solidFill>
            <a:srgbClr val="37414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1395649" rtl="0" eaLnBrk="1" latinLnBrk="0" hangingPunct="1">
        <a:lnSpc>
          <a:spcPct val="110000"/>
        </a:lnSpc>
        <a:spcBef>
          <a:spcPts val="916"/>
        </a:spcBef>
        <a:spcAft>
          <a:spcPts val="458"/>
        </a:spcAft>
        <a:buClr>
          <a:srgbClr val="0077BE"/>
        </a:buClr>
        <a:buFont typeface="Arial" panose="020B0604020202020204" pitchFamily="34" charset="0"/>
        <a:buChar char="​"/>
        <a:defRPr lang="en-US" sz="1526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434080" indent="-263745" algn="l" defTabSz="1395649" rtl="0" eaLnBrk="1" latinLnBrk="0" hangingPunct="1">
        <a:lnSpc>
          <a:spcPct val="90000"/>
        </a:lnSpc>
        <a:spcBef>
          <a:spcPts val="0"/>
        </a:spcBef>
        <a:spcAft>
          <a:spcPts val="458"/>
        </a:spcAft>
        <a:buClr>
          <a:srgbClr val="0077BE"/>
        </a:buClr>
        <a:buFont typeface="Arial" panose="020B0604020202020204" pitchFamily="34" charset="0"/>
        <a:buChar char="•"/>
        <a:defRPr lang="en-US" sz="1526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780245" indent="-252755" algn="l" defTabSz="1395649" rtl="0" eaLnBrk="1" latinLnBrk="0" hangingPunct="1">
        <a:lnSpc>
          <a:spcPct val="90000"/>
        </a:lnSpc>
        <a:spcBef>
          <a:spcPts val="0"/>
        </a:spcBef>
        <a:spcAft>
          <a:spcPts val="458"/>
        </a:spcAft>
        <a:buClr>
          <a:srgbClr val="0077BE"/>
        </a:buClr>
        <a:buFont typeface="Trebuchet MS" panose="020B0603020202020204" pitchFamily="34" charset="0"/>
        <a:buChar char="–"/>
        <a:defRPr lang="en-US" sz="1526" kern="120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1395649" rtl="0" eaLnBrk="1" latinLnBrk="0" hangingPunct="1">
        <a:lnSpc>
          <a:spcPct val="110000"/>
        </a:lnSpc>
        <a:spcBef>
          <a:spcPts val="458"/>
        </a:spcBef>
        <a:spcAft>
          <a:spcPts val="458"/>
        </a:spcAft>
        <a:buClr>
          <a:srgbClr val="0077BE"/>
        </a:buClr>
        <a:buFont typeface="Arial" panose="020B0604020202020204" pitchFamily="34" charset="0"/>
        <a:buChar char="​"/>
        <a:defRPr lang="en-US" sz="2137" kern="120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1395649" rtl="0" eaLnBrk="1" latinLnBrk="0" hangingPunct="1">
        <a:lnSpc>
          <a:spcPct val="100000"/>
        </a:lnSpc>
        <a:spcBef>
          <a:spcPts val="0"/>
        </a:spcBef>
        <a:spcAft>
          <a:spcPts val="458"/>
        </a:spcAft>
        <a:buClr>
          <a:srgbClr val="0077BE"/>
        </a:buClr>
        <a:buFont typeface="Arial" panose="020B0604020202020204" pitchFamily="34" charset="0"/>
        <a:buChar char="​"/>
        <a:defRPr lang="en-US" sz="2137" b="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411910" indent="-232608" algn="l" defTabSz="1395649" rtl="0" eaLnBrk="1" latinLnBrk="0" hangingPunct="1">
        <a:lnSpc>
          <a:spcPct val="90000"/>
        </a:lnSpc>
        <a:spcBef>
          <a:spcPts val="0"/>
        </a:spcBef>
        <a:spcAft>
          <a:spcPts val="916"/>
        </a:spcAft>
        <a:buClr>
          <a:srgbClr val="0077BE"/>
        </a:buClr>
        <a:buFont typeface="Arial" panose="020B0604020202020204" pitchFamily="34" charset="0"/>
        <a:buChar char="•"/>
        <a:defRPr lang="en-US" sz="2137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1395649" rtl="0" eaLnBrk="1" latinLnBrk="0" hangingPunct="1">
        <a:lnSpc>
          <a:spcPct val="90000"/>
        </a:lnSpc>
        <a:spcBef>
          <a:spcPts val="1374"/>
        </a:spcBef>
        <a:spcAft>
          <a:spcPts val="1374"/>
        </a:spcAft>
        <a:buClr>
          <a:srgbClr val="0077BE"/>
        </a:buClr>
        <a:buFont typeface="Arial" panose="020B0604020202020204" pitchFamily="34" charset="0"/>
        <a:buChar char="​"/>
        <a:defRPr lang="en-US" sz="6716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1395649" rtl="0" eaLnBrk="1" latinLnBrk="0" hangingPunct="1">
        <a:lnSpc>
          <a:spcPct val="90000"/>
        </a:lnSpc>
        <a:spcBef>
          <a:spcPts val="1374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8242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1395649" rtl="0" eaLnBrk="1" latinLnBrk="0" hangingPunct="1">
        <a:lnSpc>
          <a:spcPct val="100000"/>
        </a:lnSpc>
        <a:spcBef>
          <a:spcPts val="0"/>
        </a:spcBef>
        <a:spcAft>
          <a:spcPts val="1374"/>
        </a:spcAft>
        <a:buClr>
          <a:srgbClr val="0077BE"/>
        </a:buClr>
        <a:buFont typeface="Arial" panose="020B0604020202020204" pitchFamily="34" charset="0"/>
        <a:buChar char="​"/>
        <a:defRPr lang="en-US" sz="3663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1pPr>
      <a:lvl2pPr marL="697824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2pPr>
      <a:lvl3pPr marL="1395649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3pPr>
      <a:lvl4pPr marL="2093473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4pPr>
      <a:lvl5pPr marL="2791297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5pPr>
      <a:lvl6pPr marL="3489122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6pPr>
      <a:lvl7pPr marL="4186946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7pPr>
      <a:lvl8pPr marL="4884771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8pPr>
      <a:lvl9pPr marL="5582595" algn="l" defTabSz="1395649" rtl="0" eaLnBrk="1" latinLnBrk="0" hangingPunct="1">
        <a:defRPr sz="27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2">
          <p15:clr>
            <a:srgbClr val="F26B43"/>
          </p15:clr>
        </p15:guide>
        <p15:guide id="2" pos="603">
          <p15:clr>
            <a:srgbClr val="F26B43"/>
          </p15:clr>
        </p15:guide>
        <p15:guide id="3" pos="8921">
          <p15:clr>
            <a:srgbClr val="F26B43"/>
          </p15:clr>
        </p15:guide>
        <p15:guide id="4" orient="horz" pos="60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g"/><Relationship Id="rId4" Type="http://schemas.openxmlformats.org/officeDocument/2006/relationships/image" Target="../media/image2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g"/><Relationship Id="rId4" Type="http://schemas.openxmlformats.org/officeDocument/2006/relationships/image" Target="../media/image2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g"/><Relationship Id="rId4" Type="http://schemas.openxmlformats.org/officeDocument/2006/relationships/image" Target="../media/image27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g"/><Relationship Id="rId4" Type="http://schemas.openxmlformats.org/officeDocument/2006/relationships/image" Target="../media/image27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g"/><Relationship Id="rId4" Type="http://schemas.openxmlformats.org/officeDocument/2006/relationships/image" Target="../media/image27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g"/><Relationship Id="rId4" Type="http://schemas.openxmlformats.org/officeDocument/2006/relationships/image" Target="../media/image2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5AEFAF025FADDA5A38F2F5ACEEE59F37CC8D1EC4871629E1E65DECF08C6AC6E8B8888179735A969366795D71EC1B078B5AE9A90AC2B23176I0j7G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25.jpg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27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5AEFAF025FADDA5A38F2FCB5E9E59F37C8831EC5871229E1E65DECF08C6AC6E8B8888179735A909D6C795D71EC1B078B5AE9A90AC2B23176I0j7G" TargetMode="External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5AEFAF025FADDA5A38F2FCB5E9E59F37C8831EC5871229E1E65DECF08C6AC6E8B8888179735A909D6C795D71EC1B078B5AE9A90AC2B23176I0j7G" TargetMode="External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7.emf"/><Relationship Id="rId4" Type="http://schemas.openxmlformats.org/officeDocument/2006/relationships/image" Target="../media/image2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25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g"/><Relationship Id="rId4" Type="http://schemas.openxmlformats.org/officeDocument/2006/relationships/image" Target="../media/image2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g"/><Relationship Id="rId4" Type="http://schemas.openxmlformats.org/officeDocument/2006/relationships/image" Target="../media/image2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g"/><Relationship Id="rId4" Type="http://schemas.openxmlformats.org/officeDocument/2006/relationships/image" Target="../media/image2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g"/><Relationship Id="rId4" Type="http://schemas.openxmlformats.org/officeDocument/2006/relationships/image" Target="../media/image2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ctrTitle"/>
          </p:nvPr>
        </p:nvSpPr>
        <p:spPr>
          <a:xfrm>
            <a:off x="0" y="2416214"/>
            <a:ext cx="6380967" cy="4847971"/>
          </a:xfrm>
          <a:prstGeom prst="rect">
            <a:avLst/>
          </a:prstGeom>
        </p:spPr>
        <p:txBody>
          <a:bodyPr vert="horz" wrap="square" lIns="0" tIns="107165" rIns="0" bIns="0" rtlCol="0" anchor="t">
            <a:spAutoFit/>
          </a:bodyPr>
          <a:lstStyle/>
          <a:p>
            <a:pPr marL="5776" marR="291979" algn="ctr" defTabSz="742950">
              <a:lnSpc>
                <a:spcPct val="100000"/>
              </a:lnSpc>
              <a:spcBef>
                <a:spcPts val="549"/>
              </a:spcBef>
            </a:pPr>
            <a: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Текущие результаты достижения субъектом показателей целевой модели «Подготовка документов и осуществление государственного кадастрового учета и (или) государственной регистрации прав собственности на объекты недвижимого имущества» </a:t>
            </a:r>
            <a:b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</a:br>
            <a: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rPr>
              <a:t>за 9 месяцев 2021 года</a:t>
            </a:r>
            <a:endParaRPr sz="2800" dirty="0">
              <a:solidFill>
                <a:schemeClr val="bg2">
                  <a:lumMod val="10000"/>
                </a:schemeClr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50619" y="9214175"/>
            <a:ext cx="1612210" cy="418155"/>
          </a:xfrm>
          <a:prstGeom prst="rect">
            <a:avLst/>
          </a:prstGeom>
        </p:spPr>
        <p:txBody>
          <a:bodyPr wrap="square" lIns="140781" tIns="70391" rIns="140781" bIns="70391">
            <a:spAutoFit/>
          </a:bodyPr>
          <a:lstStyle/>
          <a:p>
            <a:pPr algn="just"/>
            <a:endParaRPr lang="ru-RU" sz="1800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sp>
        <p:nvSpPr>
          <p:cNvPr id="15" name="Text Placeholder 3">
            <a:extLst>
              <a:ext uri="{FF2B5EF4-FFF2-40B4-BE49-F238E27FC236}">
                <a16:creationId xmlns="" xmlns:a16="http://schemas.microsoft.com/office/drawing/2014/main" id="{8C87732C-A0BD-2549-890B-0FF65AB270CF}"/>
              </a:ext>
            </a:extLst>
          </p:cNvPr>
          <p:cNvSpPr txBox="1">
            <a:spLocks/>
          </p:cNvSpPr>
          <p:nvPr/>
        </p:nvSpPr>
        <p:spPr bwMode="black">
          <a:xfrm>
            <a:off x="202890" y="8219373"/>
            <a:ext cx="6445510" cy="34317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0077BE"/>
              </a:buClr>
              <a:buFont typeface="Arial" panose="020B0604020202020204" pitchFamily="34" charset="0"/>
              <a:buNone/>
              <a:defRPr lang="en-US" sz="1800" b="1" kern="1200" cap="all" baseline="0">
                <a:solidFill>
                  <a:srgbClr val="9A9A9A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77BE"/>
              </a:buClr>
              <a:buFont typeface="Arial" panose="020B0604020202020204" pitchFamily="34" charset="0"/>
              <a:buNone/>
              <a:defRPr lang="en-US" sz="1200" kern="120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rgbClr val="0077BE"/>
              </a:buClr>
              <a:buFont typeface="Trebuchet MS" panose="020B0603020202020204" pitchFamily="34" charset="0"/>
              <a:buNone/>
              <a:defRPr lang="en-US" sz="1200" kern="120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228600" indent="0" algn="ctr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0077BE"/>
              </a:buClr>
              <a:buFont typeface="Arial" panose="020B0604020202020204" pitchFamily="34" charset="0"/>
              <a:buNone/>
              <a:defRPr lang="en-US" sz="1600" kern="1200">
                <a:solidFill>
                  <a:srgbClr val="0077BE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77BE"/>
              </a:buClr>
              <a:buFont typeface="Arial" panose="020B0604020202020204" pitchFamily="34" charset="0"/>
              <a:buNone/>
              <a:defRPr lang="en-US" sz="1600" b="1" kern="120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0077BE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Clr>
                <a:srgbClr val="0077BE"/>
              </a:buClr>
              <a:buFont typeface="Arial" panose="020B0604020202020204" pitchFamily="34" charset="0"/>
              <a:buChar char="​"/>
              <a:defRPr lang="en-US" sz="4400" kern="1200" baseline="0" smtClean="0">
                <a:solidFill>
                  <a:srgbClr val="5757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77BE"/>
              </a:buClr>
              <a:buFont typeface="Arial" panose="020B0604020202020204" pitchFamily="34" charset="0"/>
              <a:buChar char="​"/>
              <a:defRPr lang="en-US" sz="5400" kern="1200" baseline="0" smtClean="0">
                <a:solidFill>
                  <a:srgbClr val="0077BE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77BE"/>
              </a:buClr>
              <a:buFont typeface="Arial" panose="020B0604020202020204" pitchFamily="34" charset="0"/>
              <a:buChar char="​"/>
              <a:defRPr lang="en-US" sz="2400" kern="1200" baseline="0" dirty="0">
                <a:solidFill>
                  <a:srgbClr val="0077BE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r>
              <a:rPr lang="ru-RU" sz="2200" dirty="0" err="1" smtClean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Шеляков</a:t>
            </a:r>
            <a:r>
              <a:rPr lang="ru-RU" sz="2200" dirty="0" smtClean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lang="ru-RU" sz="2200" dirty="0" err="1" smtClean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игорь</a:t>
            </a:r>
            <a:r>
              <a:rPr lang="ru-RU" sz="2200" dirty="0" smtClean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lang="ru-RU" sz="2200" dirty="0" err="1" smtClean="0">
                <a:solidFill>
                  <a:schemeClr val="bg2">
                    <a:lumMod val="10000"/>
                  </a:schemeClr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михайлович</a:t>
            </a:r>
            <a:endParaRPr lang="ru-RU" sz="2200" dirty="0">
              <a:solidFill>
                <a:schemeClr val="bg2">
                  <a:lumMod val="10000"/>
                </a:schemeClr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5ED89129-1F44-C044-9C9D-724BEEA9002D}"/>
              </a:ext>
            </a:extLst>
          </p:cNvPr>
          <p:cNvSpPr/>
          <p:nvPr/>
        </p:nvSpPr>
        <p:spPr>
          <a:xfrm>
            <a:off x="202890" y="8660177"/>
            <a:ext cx="459539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5340528">
              <a:buClr>
                <a:srgbClr val="0077BE"/>
              </a:buClr>
              <a:buSzPct val="100000"/>
            </a:pP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  <a:sym typeface="Proxima Nova"/>
              </a:rPr>
              <a:t>Руководитель Управления </a:t>
            </a:r>
          </a:p>
          <a:p>
            <a:pPr defTabSz="5340528">
              <a:buClr>
                <a:srgbClr val="0077BE"/>
              </a:buClr>
              <a:buSzPct val="100000"/>
            </a:pPr>
            <a:r>
              <a:rPr lang="ru-RU" sz="18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  <a:sym typeface="Proxima Nova"/>
              </a:rPr>
              <a:t>Росреестра по Ленинградской области</a:t>
            </a:r>
            <a:endParaRPr lang="ru-RU" sz="1800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  <a:sym typeface="Proxima Nova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619" y="321261"/>
            <a:ext cx="2737341" cy="115224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143331" y="9777413"/>
            <a:ext cx="914400" cy="9144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</a:rPr>
              <a:t>Санкт-Петербург</a:t>
            </a:r>
          </a:p>
          <a:p>
            <a:pPr algn="ctr"/>
            <a:r>
              <a:rPr lang="ru-RU" sz="2000" dirty="0" smtClean="0">
                <a:solidFill>
                  <a:schemeClr val="bg1"/>
                </a:solidFill>
              </a:rPr>
              <a:t>2021</a:t>
            </a:r>
          </a:p>
        </p:txBody>
      </p:sp>
      <p:pic>
        <p:nvPicPr>
          <p:cNvPr id="11" name="Рисунок 10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60615B8F-330A-2E43-B84F-08BBC5A6601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1404"/>
          <a:stretch/>
        </p:blipFill>
        <p:spPr>
          <a:xfrm>
            <a:off x="9983101" y="4984227"/>
            <a:ext cx="524320" cy="75174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7143331" y="9818398"/>
            <a:ext cx="914400" cy="9144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ru-RU" sz="2000" dirty="0" smtClean="0">
                <a:solidFill>
                  <a:schemeClr val="bg2">
                    <a:lumMod val="10000"/>
                  </a:schemeClr>
                </a:solidFill>
              </a:rPr>
              <a:t>Санкт-Петербург</a:t>
            </a:r>
          </a:p>
          <a:p>
            <a:pPr algn="ctr"/>
            <a:r>
              <a:rPr lang="ru-RU" sz="2000" dirty="0" smtClean="0">
                <a:solidFill>
                  <a:schemeClr val="bg2">
                    <a:lumMod val="10000"/>
                  </a:schemeClr>
                </a:solidFill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59699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8938942"/>
              </p:ext>
            </p:extLst>
          </p:nvPr>
        </p:nvGraphicFramePr>
        <p:xfrm>
          <a:off x="0" y="1346189"/>
          <a:ext cx="15119349" cy="8924601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597"/>
                <a:gridCol w="2512855"/>
                <a:gridCol w="2371455"/>
                <a:gridCol w="1076651"/>
                <a:gridCol w="1182097"/>
                <a:gridCol w="1546370"/>
                <a:gridCol w="1472027"/>
                <a:gridCol w="1308468"/>
                <a:gridCol w="1299087"/>
                <a:gridCol w="123211"/>
                <a:gridCol w="1415531"/>
              </a:tblGrid>
              <a:tr h="755533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8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792912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 grid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577812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307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10.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Внесение в Единый государственный реестр недвижимости сведений об объектах недвижимости, необходимых для определения их кадастровой стоимости</a:t>
                      </a:r>
                      <a:endParaRPr lang="ru-RU" sz="1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10.1.</a:t>
                      </a:r>
                      <a:endParaRPr lang="ru-RU" sz="1800" b="1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объектов недвижимости, учтенных в Едином государственном реестре недвижимости, в общем количестве объектов недвижимости, сведения о кадастровой стоимости которых отсутствуют, процентов</a:t>
                      </a:r>
                      <a:endParaRPr lang="ru-RU" sz="14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</a:t>
                      </a:r>
                      <a:endParaRPr lang="ru-RU" sz="275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750" dirty="0"/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,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УР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37373A"/>
                          </a:solidFill>
                        </a:rPr>
                        <a:t>Учтенных ОН в ЕГРН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37373A"/>
                          </a:solidFill>
                        </a:rPr>
                        <a:t>3 458 341</a:t>
                      </a:r>
                      <a:r>
                        <a:rPr lang="en-US" sz="1600" b="1" dirty="0" smtClean="0">
                          <a:solidFill>
                            <a:srgbClr val="37373A"/>
                          </a:solidFill>
                        </a:rPr>
                        <a:t>;</a:t>
                      </a:r>
                      <a:endParaRPr lang="ru-RU" sz="1600" b="1" dirty="0" smtClean="0">
                        <a:solidFill>
                          <a:srgbClr val="37373A"/>
                        </a:solidFill>
                      </a:endParaRP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37373A"/>
                          </a:solidFill>
                        </a:rPr>
                        <a:t>Количество ОН с отсутствием КС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37373A"/>
                          </a:solidFill>
                        </a:rPr>
                        <a:t>49 094</a:t>
                      </a:r>
                    </a:p>
                  </a:txBody>
                  <a:tcPr/>
                </a:tc>
              </a:tr>
              <a:tr h="1112822">
                <a:tc gridSpan="11">
                  <a:txBody>
                    <a:bodyPr/>
                    <a:lstStyle/>
                    <a:p>
                      <a:pPr marL="0" marR="0" lvl="0" indent="0" algn="just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7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2F2F2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аздел 2. Подготовка и подача документов на осуществление кадастрового учета и (или) регистрации прав</a:t>
                      </a:r>
                      <a:endParaRPr kumimoji="0" lang="ru-RU" sz="27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2F2F2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39370" marR="39370" marT="64770" marB="64770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39370" marR="39370" marT="64770" marB="6477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3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3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3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3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hMerge="1">
                  <a:txBody>
                    <a:bodyPr/>
                    <a:lstStyle/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7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2F2F2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</a:tr>
              <a:tr h="28204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1.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Срок подготовки межевого и технического планов, акта обследования</a:t>
                      </a:r>
                      <a:endParaRPr lang="ru-RU" sz="1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1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едельный срок подготовки межевого и технического планов, акта обследования (без учета срока согласования границ земельных участков со смежными землепользователями), дней</a:t>
                      </a:r>
                      <a:endParaRPr lang="ru-RU" sz="14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</a:t>
                      </a:r>
                      <a:endParaRPr lang="ru-RU" sz="275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750" dirty="0"/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8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УГИ</a:t>
                      </a:r>
                    </a:p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</a:p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2" y="470663"/>
            <a:ext cx="1416208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8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10236407"/>
            <a:ext cx="15120000" cy="442447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717821" y="10173010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961789" y="4108676"/>
            <a:ext cx="72208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1,42%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132982" y="7922464"/>
            <a:ext cx="72208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10 дней</a:t>
            </a:r>
          </a:p>
        </p:txBody>
      </p:sp>
    </p:spTree>
    <p:extLst>
      <p:ext uri="{BB962C8B-B14F-4D97-AF65-F5344CB8AC3E}">
        <p14:creationId xmlns:p14="http://schemas.microsoft.com/office/powerpoint/2010/main" val="1315990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5036784"/>
              </p:ext>
            </p:extLst>
          </p:nvPr>
        </p:nvGraphicFramePr>
        <p:xfrm>
          <a:off x="3" y="1346189"/>
          <a:ext cx="15119348" cy="8874258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961"/>
                <a:gridCol w="2513980"/>
                <a:gridCol w="2626925"/>
                <a:gridCol w="1025007"/>
                <a:gridCol w="1156793"/>
                <a:gridCol w="1347151"/>
                <a:gridCol w="1288579"/>
                <a:gridCol w="1332508"/>
                <a:gridCol w="1420365"/>
                <a:gridCol w="1596079"/>
              </a:tblGrid>
              <a:tr h="745126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789366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569854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6069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2.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Качество приема и сканирования документов в многофункциональных центрах предоставления государственных и муниципальных услуг (далее - МФЦ)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2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ошибок, допущенных сотрудниками МФЦ при приеме документов на государственный кадастровый учет и (или) государственную регистрацию прав (полнота и комплектность документов), в общем количестве документов, принятых в МФЦ на государственный кадастровый учет и (или) государственную регистрацию прав, процентов</a:t>
                      </a: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,1</a:t>
                      </a:r>
                      <a:endParaRPr lang="ru-RU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,1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,1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,1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,1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Э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  <a:endParaRPr lang="ru-RU" sz="1800" dirty="0">
                        <a:solidFill>
                          <a:srgbClr val="34A290"/>
                        </a:solidFill>
                      </a:endParaRPr>
                    </a:p>
                  </a:txBody>
                  <a:tcPr/>
                </a:tc>
              </a:tr>
              <a:tr h="36092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2.2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пакетов документов, которые приняты в МФЦ на государственный кадастровый учет и (или) государственную регистрацию прав и в отношении которых сотрудниками МФЦ не осуществлено или осуществлено некачественное сканирование, в общем количестве пакетов документов, принятых в МФЦ на государственный кадастровый учет и (или) государственную регистрацию прав, </a:t>
                      </a:r>
                      <a:r>
                        <a:rPr lang="ru-RU" sz="13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центов</a:t>
                      </a: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</a:t>
                      </a:r>
                      <a:endParaRPr lang="ru-RU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,1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Э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  <a:endParaRPr lang="ru-RU" sz="1800" dirty="0">
                        <a:solidFill>
                          <a:srgbClr val="34A29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2" y="470663"/>
            <a:ext cx="1416208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8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-52310" y="10220448"/>
            <a:ext cx="15171660" cy="497202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665836" y="10220448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259156" y="4108676"/>
            <a:ext cx="675574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0</a:t>
            </a:r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%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99165" y="7851414"/>
            <a:ext cx="675574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0</a:t>
            </a:r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%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2618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0490099"/>
              </p:ext>
            </p:extLst>
          </p:nvPr>
        </p:nvGraphicFramePr>
        <p:xfrm>
          <a:off x="0" y="1078010"/>
          <a:ext cx="15119349" cy="9140384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962"/>
                <a:gridCol w="2513980"/>
                <a:gridCol w="2372517"/>
                <a:gridCol w="1077132"/>
                <a:gridCol w="1182625"/>
                <a:gridCol w="1547064"/>
                <a:gridCol w="1472686"/>
                <a:gridCol w="1309055"/>
                <a:gridCol w="1416164"/>
                <a:gridCol w="1416164"/>
              </a:tblGrid>
              <a:tr h="816547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882767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624474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8165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3.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2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Обеспечение межведомственного электронного взаимодействия посредством системы межведомственного электронного взаимодействия (далее - СМЭВ) при осуществлении государственного кадастрового учета и (или) государственной регистрации прав</a:t>
                      </a:r>
                      <a:endParaRPr lang="ru-RU" sz="2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3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ответов на запросы органа регистрации прав, полученных в электронном виде, в том числе посредством СМЭВ, в общем количестве направленных запросов, процентов</a:t>
                      </a:r>
                      <a:endParaRPr lang="ru-RU" sz="20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85</a:t>
                      </a:r>
                      <a:endParaRPr lang="ru-RU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8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Ц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</a:p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738232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2" y="282183"/>
            <a:ext cx="1416208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8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2434" y="87430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10231353"/>
            <a:ext cx="15120000" cy="447501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717496" y="10144826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1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805251" y="5162440"/>
            <a:ext cx="675574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99,2%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110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6473617"/>
              </p:ext>
            </p:extLst>
          </p:nvPr>
        </p:nvGraphicFramePr>
        <p:xfrm>
          <a:off x="1" y="1346189"/>
          <a:ext cx="15119348" cy="8890216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961"/>
                <a:gridCol w="2513980"/>
                <a:gridCol w="2372517"/>
                <a:gridCol w="1077132"/>
                <a:gridCol w="1182625"/>
                <a:gridCol w="1547063"/>
                <a:gridCol w="1472686"/>
                <a:gridCol w="1309054"/>
                <a:gridCol w="1442836"/>
                <a:gridCol w="1389494"/>
              </a:tblGrid>
              <a:tr h="790496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837430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результат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604552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40439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4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 </a:t>
                      </a:r>
                      <a:endParaRPr lang="ru-RU" sz="7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Уровень использования электронной услуги по постановке на государственный кадастровый учет и (или) государственную регистрацию прав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4.1.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заявлений о постановке на государственный кадастровый учет и (или) государственную регистрацию прав, поданных в форме электронного документа, в общем количестве таких заявлений, процентов</a:t>
                      </a:r>
                      <a:endParaRPr lang="ru-RU" sz="140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</a:t>
                      </a:r>
                      <a:r>
                        <a:rPr lang="ru-RU" sz="14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заявлений </a:t>
                      </a:r>
                      <a:r>
                        <a:rPr lang="ru-RU" sz="14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о</a:t>
                      </a:r>
                      <a:endParaRPr lang="ru-RU" sz="14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7</a:t>
                      </a:r>
                      <a:endParaRPr lang="ru-RU" sz="275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750" dirty="0"/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7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4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5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6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Э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  <a:endParaRPr lang="ru-RU" sz="1800" dirty="0">
                        <a:solidFill>
                          <a:srgbClr val="34A290"/>
                        </a:solidFill>
                      </a:endParaRPr>
                    </a:p>
                  </a:txBody>
                  <a:tcPr/>
                </a:tc>
              </a:tr>
              <a:tr h="37172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4.2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заявлений о постановке на государственный кадастровый учет и (или) государственную регистрацию прав, поданных органами государственной власти и органами местного самоуправления в форме электронного документа, в общем количестве таких заявлений, </a:t>
                      </a:r>
                      <a:r>
                        <a:rPr lang="ru-RU" sz="14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центов</a:t>
                      </a:r>
                      <a:endParaRPr lang="ru-RU" sz="14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75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7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8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Э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</a:p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753136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3" y="266664"/>
            <a:ext cx="1416208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8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10236407"/>
            <a:ext cx="15120000" cy="442447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717495" y="10173010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1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413101" y="4679745"/>
            <a:ext cx="553413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40,97%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773897" y="7940477"/>
            <a:ext cx="569923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100 %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550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0319138"/>
              </p:ext>
            </p:extLst>
          </p:nvPr>
        </p:nvGraphicFramePr>
        <p:xfrm>
          <a:off x="0" y="1218275"/>
          <a:ext cx="15119348" cy="9233733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961"/>
                <a:gridCol w="2513980"/>
                <a:gridCol w="2372517"/>
                <a:gridCol w="1077132"/>
                <a:gridCol w="1182625"/>
                <a:gridCol w="1547063"/>
                <a:gridCol w="1472686"/>
                <a:gridCol w="1309054"/>
                <a:gridCol w="1416165"/>
                <a:gridCol w="1416165"/>
              </a:tblGrid>
              <a:tr h="779847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781778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результат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596408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69925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4.3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заявлений о постановке на государственный кадастровый учет и (или) государственную регистрацию прав, поданных юридическими лицами в форме электронного документа, в общем количестве таких заявлений, </a:t>
                      </a:r>
                      <a:r>
                        <a:rPr lang="ru-RU" sz="12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центов</a:t>
                      </a:r>
                      <a:endParaRPr lang="ru-RU" sz="12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40</a:t>
                      </a:r>
                      <a:endParaRPr lang="ru-RU" sz="275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750" dirty="0"/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4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5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6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8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Э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pPr algn="l"/>
                      <a:endParaRPr lang="ru-RU" sz="1800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В эл.</a:t>
                      </a:r>
                      <a:r>
                        <a:rPr lang="en-US" sz="1800" dirty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виде</a:t>
                      </a:r>
                      <a:r>
                        <a:rPr lang="en-US" sz="1800" dirty="0" smtClean="0">
                          <a:solidFill>
                            <a:schemeClr val="accent1"/>
                          </a:solidFill>
                        </a:rPr>
                        <a:t>: 22 833</a:t>
                      </a:r>
                    </a:p>
                    <a:p>
                      <a:pPr algn="l"/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На</a:t>
                      </a:r>
                      <a:r>
                        <a:rPr lang="ru-RU" sz="1800" baseline="0" dirty="0" smtClean="0">
                          <a:solidFill>
                            <a:schemeClr val="accent1"/>
                          </a:solidFill>
                        </a:rPr>
                        <a:t> бумаге</a:t>
                      </a:r>
                      <a:r>
                        <a:rPr lang="en-US" sz="1800" baseline="0" dirty="0" smtClean="0">
                          <a:solidFill>
                            <a:schemeClr val="accent1"/>
                          </a:solidFill>
                        </a:rPr>
                        <a:t>:</a:t>
                      </a:r>
                    </a:p>
                    <a:p>
                      <a:pPr algn="l"/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35 193</a:t>
                      </a:r>
                      <a:r>
                        <a:rPr lang="en-US" sz="1800" dirty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endParaRPr lang="en-US" sz="1800" baseline="0" dirty="0" smtClean="0">
                        <a:solidFill>
                          <a:schemeClr val="accent1"/>
                        </a:solidFill>
                      </a:endParaRPr>
                    </a:p>
                    <a:p>
                      <a:pPr algn="l"/>
                      <a:endParaRPr lang="en-US" sz="1800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endParaRPr lang="ru-RU" sz="14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1857504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4.4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предоставления в электронном виде государственной услуги по регистрации ипотечных сделок в общем количестве ипотечных сделок, </a:t>
                      </a:r>
                      <a:r>
                        <a:rPr lang="ru-RU" sz="12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центов</a:t>
                      </a:r>
                      <a:endParaRPr lang="ru-RU" sz="12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7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2F2F2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80</a:t>
                      </a:r>
                      <a:endParaRPr kumimoji="0" lang="ru-RU" sz="27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2F2F2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dirty="0"/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8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8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С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pPr algn="l"/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Ипотека</a:t>
                      </a:r>
                      <a:r>
                        <a:rPr lang="ru-RU" sz="1800" baseline="0" dirty="0" smtClean="0">
                          <a:solidFill>
                            <a:schemeClr val="accent1"/>
                          </a:solidFill>
                        </a:rPr>
                        <a:t> эл=9390</a:t>
                      </a:r>
                    </a:p>
                    <a:p>
                      <a:pPr algn="l"/>
                      <a:r>
                        <a:rPr lang="ru-RU" sz="1800" baseline="0" dirty="0" smtClean="0">
                          <a:solidFill>
                            <a:schemeClr val="accent1"/>
                          </a:solidFill>
                        </a:rPr>
                        <a:t>Ипотека бум.=19882</a:t>
                      </a:r>
                      <a:endParaRPr lang="ru-RU" sz="180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</a:tr>
              <a:tr h="2718836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.4.5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поступивших в электронной форме запросов о предоставлении сведений, содержащихся в Едином государственном реестре недвижимости, в общем количестве запросов о предоставлении сведений, содержащихся в Едином государственном реестре недвижимости, </a:t>
                      </a:r>
                      <a:r>
                        <a:rPr lang="ru-RU" sz="12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центов</a:t>
                      </a:r>
                      <a:endParaRPr lang="ru-RU" sz="12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7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2F2F2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2</a:t>
                      </a:r>
                      <a:endParaRPr kumimoji="0" lang="ru-RU" sz="27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2F2F2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dirty="0"/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2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3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4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635" marR="24635" marT="40529" marB="4052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Э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pPr algn="l"/>
                      <a:endParaRPr lang="ru-RU" sz="1800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Сведения из</a:t>
                      </a:r>
                      <a:r>
                        <a:rPr lang="ru-RU" sz="1800" baseline="0" dirty="0" smtClean="0">
                          <a:solidFill>
                            <a:schemeClr val="accent1"/>
                          </a:solidFill>
                        </a:rPr>
                        <a:t> ЕГРН эл=938 314</a:t>
                      </a:r>
                    </a:p>
                    <a:p>
                      <a:pPr algn="l"/>
                      <a:r>
                        <a:rPr lang="ru-RU" sz="1800" baseline="0" dirty="0" smtClean="0">
                          <a:solidFill>
                            <a:schemeClr val="accent1"/>
                          </a:solidFill>
                        </a:rPr>
                        <a:t>Сведения всего=</a:t>
                      </a:r>
                    </a:p>
                    <a:p>
                      <a:pPr algn="l"/>
                      <a:r>
                        <a:rPr lang="ru-RU" sz="1800" baseline="0" dirty="0" smtClean="0">
                          <a:solidFill>
                            <a:schemeClr val="accent1"/>
                          </a:solidFill>
                        </a:rPr>
                        <a:t>1 070</a:t>
                      </a:r>
                      <a:r>
                        <a:rPr lang="en-US" sz="1800" baseline="0" dirty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ru-RU" sz="1800" baseline="0" dirty="0" smtClean="0">
                          <a:solidFill>
                            <a:schemeClr val="accent1"/>
                          </a:solidFill>
                        </a:rPr>
                        <a:t>071</a:t>
                      </a:r>
                      <a:endParaRPr lang="ru-RU" sz="180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795704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1009575" y="268704"/>
            <a:ext cx="1416208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8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591" y="100247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10153724"/>
            <a:ext cx="15120000" cy="52512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707204" y="10122573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1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842398" y="4059976"/>
            <a:ext cx="690734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39,35% </a:t>
            </a:r>
            <a:endParaRPr lang="ru-RU" sz="4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61148" y="6106297"/>
            <a:ext cx="606994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47,23% </a:t>
            </a:r>
            <a:endParaRPr lang="ru-RU" sz="4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361148" y="8488632"/>
            <a:ext cx="606994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87,69% </a:t>
            </a:r>
            <a:endParaRPr lang="ru-RU" sz="4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0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74158" y="4283285"/>
            <a:ext cx="3610442" cy="2049047"/>
          </a:xfrm>
        </p:spPr>
        <p:txBody>
          <a:bodyPr/>
          <a:lstStyle/>
          <a:p>
            <a:r>
              <a:rPr lang="ru-RU" dirty="0" err="1" smtClean="0"/>
              <a:t>Эл.ИПОТЕКА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2400" dirty="0" smtClean="0">
                <a:solidFill>
                  <a:schemeClr val="accent1"/>
                </a:solidFill>
              </a:rPr>
              <a:t>(к показателю 2.4.4 </a:t>
            </a:r>
            <a:endParaRPr lang="ru-RU" sz="2400" dirty="0">
              <a:solidFill>
                <a:schemeClr val="accent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717338" y="10121900"/>
            <a:ext cx="3402012" cy="569913"/>
          </a:xfrm>
          <a:prstGeom prst="rect">
            <a:avLst/>
          </a:prstGeom>
        </p:spPr>
        <p:txBody>
          <a:bodyPr/>
          <a:lstStyle/>
          <a:p>
            <a:pPr algn="r"/>
            <a:fld id="{438F3C6B-AB20-F24E-B142-B6CD49824CEA}" type="slidenum">
              <a:rPr lang="ru-RU" smtClean="0"/>
              <a:pPr algn="r"/>
              <a:t>15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4227876"/>
              </p:ext>
            </p:extLst>
          </p:nvPr>
        </p:nvGraphicFramePr>
        <p:xfrm>
          <a:off x="3784601" y="0"/>
          <a:ext cx="11334750" cy="1073375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028879"/>
                <a:gridCol w="1942283"/>
                <a:gridCol w="2363588"/>
              </a:tblGrid>
              <a:tr h="533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 банка</a:t>
                      </a:r>
                    </a:p>
                  </a:txBody>
                  <a:tcPr marL="9525" marR="9525" marT="9525" marB="0" anchor="ctr">
                    <a:solidFill>
                      <a:srgbClr val="0077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поданных </a:t>
                      </a:r>
                      <a:endParaRPr lang="ru-RU" sz="1400" b="1" i="0" u="none" strike="noStrike" dirty="0" smtClean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обращений 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в электронном виде                                              </a:t>
                      </a:r>
                    </a:p>
                  </a:txBody>
                  <a:tcPr marL="9525" marR="9525" marT="9525" marB="0" anchor="ctr">
                    <a:solidFill>
                      <a:srgbClr val="0077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поданных обращений на бумажном носителе                </a:t>
                      </a:r>
                    </a:p>
                  </a:txBody>
                  <a:tcPr marL="9525" marR="9525" marT="9525" marB="0" anchor="ctr">
                    <a:solidFill>
                      <a:srgbClr val="0077BE"/>
                    </a:solidFill>
                  </a:tcPr>
                </a:tc>
              </a:tr>
              <a:tr h="18744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«Тинькофф Банк»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</a:tr>
              <a:tr h="2437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БАНК БЕРЕЙТ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</a:tr>
              <a:tr h="1979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БАНК "СНГБ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</a:tr>
              <a:tr h="1979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"ЭКСПОБАНК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</a:tr>
              <a:tr h="22270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"РЕАЛИСТ БАНК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</a:tr>
              <a:tr h="18744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АО БАНК ЗЕНИТ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</a:tr>
              <a:tr h="18744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бличное акционерное общество "БАНК УРАЛСИБ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</a:tr>
              <a:tr h="18744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О БАНК "ПСКБ"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</a:tr>
              <a:tr h="18744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Б "ЛАНТА-БАНК" (АО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</a:tr>
              <a:tr h="18744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нк ВТБ (ПАО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</a:tr>
              <a:tr h="22579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Альфа-Банк" (АО "Альфа-Банк"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</a:tr>
              <a:tr h="1979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АО "СОВКОМБАНК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</a:tr>
              <a:tr h="1979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бличное акционерное общество "Сбербанк России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b"/>
                </a:tc>
              </a:tr>
              <a:tr h="210332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АО "Банк "Санкт-Петербург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</a:tr>
              <a:tr h="19796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АО БАНК "ФК ОТКРЫТИЕ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</a:tr>
              <a:tr h="210332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АО "НОРВИК БАНК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</a:tr>
              <a:tr h="210332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ЮниКредит Банк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</a:tr>
              <a:tr h="18744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Российский Сельскохозяйственный Банк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</a:tr>
              <a:tr h="18744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бличное акционерное общество "Промсвязьбанк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b"/>
                </a:tc>
              </a:tr>
              <a:tr h="18744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БАНК ДОМ.РФ" (АО "Банк ДОМ.РФ"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/>
                </a:tc>
              </a:tr>
              <a:tr h="18744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бличное акционерное общество РОСБАНК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МОСКОВСКИЙ КРЕДИТНЫЙ БАНК"  (публичное акционерное общество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Райффайзенбанк" (АО "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йффазенбанк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Акционерный банк "РОССИЯ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Газпромбанк" (Акционерное общество 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 Банк Интеза 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бличное акционерное общество "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рансКапиталБанк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бличное акционерное общество "Московский индустриальный банк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cтво c ограниченной ответcтвенноcтью коммерчеcкий банк "РоcтФинанc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«Сургутнефтегазбанк»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РОССИЙСКИЙ АКЦИОНЕРНЫЙ КОММЕРЧЕСКИЙ ДОРОЖНЫЙ БАНК" (ПУБЛИЧНОЕ АКЦИОНЕРНОЕ ОБЩЕСТВО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нство "Всероссийский банк развития регионов" (Банк "ВБРР" (АО)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бличное Акционерное Общество Банк "Александровский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ИНСПЕКТОР-КОНСАЛТИНГ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бличное акционерное общество "Витабанк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Банк "Северный морской путь" (далее-АО "СМП Банк" и/или Банк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ый коммерческий банк "АК БАРС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БР Банк ( Акционерное Общество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ЫЙ  КОММЕРЧЕСКИЙ БАНК "МЕТАЛЛУРГИЧЕСКИЙ ИНВЕСТИЦИОННЫЙ БАНК" (ПУБЛИЧНОЕ АКЦИОНЕРНОЕ ОБЩЕСТВО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Всеросийский банк развития регионов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бличное акционерное общество "МТС-БАНК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Индустриальный парк "Екатерининский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ый Коммерческий Банк "НОВИКОМБАНК" акционерное общество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ство с ограниченной ответственностью "Бланк банк" (ООО "Бланк банк"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БР БАНК (АКЦИОНЕРНОЕ ОБЩЕСТВО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54025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бличное Акционерное Общество "БАНК СГБ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кционерное общество "Банк Жилищного Финансирования" (АО "Банк "БЖФ"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ство с ограниченной отвтственостью коммерческий банк "РостФинанс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9330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ство с ограниченной отвтственостью коммерческий банк "Бланк банк"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</a:tr>
              <a:tr h="14369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щее количество: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9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6667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-956141" y="3746500"/>
            <a:ext cx="4550241" cy="3655805"/>
          </a:xfrm>
        </p:spPr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Результаты анкетирования МФЦ за октябрь</a:t>
            </a:r>
            <a:br>
              <a:rPr lang="ru-RU" dirty="0" smtClean="0"/>
            </a:br>
            <a:r>
              <a:rPr lang="ru-RU" sz="2400" dirty="0" smtClean="0">
                <a:solidFill>
                  <a:schemeClr val="accent1"/>
                </a:solidFill>
              </a:rPr>
              <a:t>(к </a:t>
            </a:r>
            <a:r>
              <a:rPr lang="ru-RU" sz="2400" dirty="0">
                <a:solidFill>
                  <a:schemeClr val="accent1"/>
                </a:solidFill>
              </a:rPr>
              <a:t>показателю </a:t>
            </a:r>
            <a:r>
              <a:rPr lang="ru-RU" sz="2400" dirty="0" smtClean="0">
                <a:solidFill>
                  <a:schemeClr val="accent1"/>
                </a:solidFill>
              </a:rPr>
              <a:t>2.4.5)</a:t>
            </a:r>
            <a:r>
              <a:rPr lang="ru-RU" dirty="0" smtClean="0">
                <a:solidFill>
                  <a:schemeClr val="accent1"/>
                </a:solidFill>
              </a:rPr>
              <a:t/>
            </a:r>
            <a:br>
              <a:rPr lang="ru-RU" dirty="0" smtClean="0">
                <a:solidFill>
                  <a:schemeClr val="accent1"/>
                </a:solidFill>
              </a:rPr>
            </a:b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717338" y="10121900"/>
            <a:ext cx="3402012" cy="569913"/>
          </a:xfrm>
          <a:prstGeom prst="rect">
            <a:avLst/>
          </a:prstGeom>
        </p:spPr>
        <p:txBody>
          <a:bodyPr/>
          <a:lstStyle/>
          <a:p>
            <a:pPr algn="r"/>
            <a:fld id="{438F3C6B-AB20-F24E-B142-B6CD49824CEA}" type="slidenum">
              <a:rPr lang="ru-RU" smtClean="0"/>
              <a:pPr algn="r"/>
              <a:t>16</a:t>
            </a:fld>
            <a:endParaRPr lang="ru-RU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175256"/>
              </p:ext>
            </p:extLst>
          </p:nvPr>
        </p:nvGraphicFramePr>
        <p:xfrm>
          <a:off x="3073400" y="0"/>
          <a:ext cx="12045950" cy="1067920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015316"/>
                <a:gridCol w="1844509"/>
                <a:gridCol w="6186125"/>
              </a:tblGrid>
              <a:tr h="3663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наименование </a:t>
                      </a:r>
                      <a:r>
                        <a:rPr lang="ru-RU" sz="1400" u="none" strike="noStrike" dirty="0">
                          <a:effectLst/>
                        </a:rPr>
                        <a:t>организаци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>
                    <a:solidFill>
                      <a:srgbClr val="0077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кол-во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>
                    <a:solidFill>
                      <a:srgbClr val="0077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услуг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>
                    <a:solidFill>
                      <a:srgbClr val="0077BE"/>
                    </a:solidFill>
                  </a:tcPr>
                </a:tc>
              </a:tr>
              <a:tr h="22192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АО </a:t>
                      </a: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«</a:t>
                      </a:r>
                      <a:r>
                        <a:rPr lang="ru-RU" sz="1400" u="none" strike="noStrike" dirty="0" err="1" smtClean="0">
                          <a:solidFill>
                            <a:schemeClr val="accent1"/>
                          </a:solidFill>
                          <a:effectLst/>
                        </a:rPr>
                        <a:t>Россети</a:t>
                      </a: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 Ленэнерго»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2000" u="none" strike="noStrike" dirty="0"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48</a:t>
                      </a:r>
                      <a:endParaRPr lang="ru-RU" sz="2000" b="0" i="0" u="none" strike="noStrike" dirty="0">
                        <a:solidFill>
                          <a:schemeClr val="tx2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для подключения к электроснабжению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509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для увеличения мощности электроэнергии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восстановление утраченных документов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361329">
                <a:tc gridSpan="3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Банки</a:t>
                      </a:r>
                      <a:endParaRPr lang="ru-RU" sz="1400" b="1" i="0" u="none" strike="noStrike" dirty="0" smtClean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386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АО </a:t>
                      </a: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«Сбербанк»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5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олучение кредита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рефинансирование </a:t>
                      </a:r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ипотеки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и</a:t>
                      </a: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ное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068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Банк Санкт-Петербург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одобрение кредита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АО ВТБ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одобрение сделки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рефинансирование </a:t>
                      </a:r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ипотеки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АО </a:t>
                      </a: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«</a:t>
                      </a:r>
                      <a:r>
                        <a:rPr lang="ru-RU" sz="1400" u="none" strike="noStrike" dirty="0" err="1" smtClean="0">
                          <a:solidFill>
                            <a:schemeClr val="accent1"/>
                          </a:solidFill>
                          <a:effectLst/>
                        </a:rPr>
                        <a:t>Россельхозбанк</a:t>
                      </a: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»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одобрение сделки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рефинансирование </a:t>
                      </a:r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ипотеки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58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err="1">
                          <a:solidFill>
                            <a:schemeClr val="accent1"/>
                          </a:solidFill>
                          <a:effectLst/>
                        </a:rPr>
                        <a:t>Альфабанк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одобрение сделки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4143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1" u="none" strike="noStrike" dirty="0">
                          <a:solidFill>
                            <a:schemeClr val="accen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Всего:</a:t>
                      </a:r>
                      <a:endParaRPr lang="ru-RU" sz="1800" b="1" i="0" u="none" strike="noStrike" dirty="0">
                        <a:solidFill>
                          <a:schemeClr val="accen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u="none" strike="noStrike" dirty="0"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33</a:t>
                      </a:r>
                      <a:endParaRPr lang="ru-RU" sz="2000" b="1" i="0" u="none" strike="noStrike" dirty="0">
                        <a:solidFill>
                          <a:schemeClr val="tx2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ru-RU" sz="18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256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Газовая компания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u="none" strike="noStrike" dirty="0"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15</a:t>
                      </a:r>
                      <a:endParaRPr lang="ru-RU" sz="2000" b="0" i="0" u="none" strike="noStrike" dirty="0">
                        <a:solidFill>
                          <a:schemeClr val="tx2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для подключения к газоснабжению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1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МВД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для регистрации по месту жительства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миграционный учет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270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олучение вида на жительство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245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регистрация по месту пребывания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85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снятие с регистрационного учета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264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1" u="none" strike="noStrike" dirty="0">
                          <a:solidFill>
                            <a:schemeClr val="accen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Всего:</a:t>
                      </a:r>
                      <a:endParaRPr lang="ru-RU" sz="1800" b="1" i="0" u="none" strike="noStrike" dirty="0">
                        <a:solidFill>
                          <a:schemeClr val="accen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u="none" strike="noStrike" dirty="0"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1</a:t>
                      </a:r>
                      <a:endParaRPr lang="ru-RU" sz="2000" b="1" i="0" u="none" strike="noStrike" dirty="0">
                        <a:solidFill>
                          <a:schemeClr val="tx2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ru-RU" sz="105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13861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А</a:t>
                      </a: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дминистрации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рисвоение адреса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138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редоставление жилплощади  в улучшение жилищных условий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362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solidFill>
                            <a:schemeClr val="accent1"/>
                          </a:solidFill>
                          <a:effectLst/>
                        </a:rPr>
                        <a:t>приватизация </a:t>
                      </a:r>
                      <a:r>
                        <a:rPr lang="ru-RU" sz="1400" u="none" strike="noStrike" smtClean="0">
                          <a:solidFill>
                            <a:schemeClr val="accent1"/>
                          </a:solidFill>
                          <a:effectLst/>
                        </a:rPr>
                        <a:t>квартиры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587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для получения государственной или муниципальной услуги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56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редоставление жилплощади  в улучшение жилищных условий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788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изменение вида разрешенного использования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4246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остановка в очередь в качестве нуждающихся в улучшение жилищных условий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406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разрешение на реконструкцию здания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383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уведомление о начале строительства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0077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1" u="none" strike="noStrike" dirty="0">
                          <a:solidFill>
                            <a:schemeClr val="accent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Всего:</a:t>
                      </a:r>
                      <a:endParaRPr lang="ru-RU" sz="1800" b="1" i="0" u="none" strike="noStrike" dirty="0">
                        <a:solidFill>
                          <a:schemeClr val="accent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u="none" strike="noStrike" dirty="0"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2</a:t>
                      </a:r>
                      <a:endParaRPr lang="ru-RU" sz="2000" b="1" i="0" u="none" strike="noStrike" dirty="0">
                        <a:solidFill>
                          <a:schemeClr val="tx2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 </a:t>
                      </a:r>
                      <a:endParaRPr lang="ru-RU" sz="2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1386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Водоканал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технологическое присоединение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472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перезаключение договора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5046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Органы опеки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р</a:t>
                      </a: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азрешение </a:t>
                      </a:r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на продажу имущества </a:t>
                      </a: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несовершеннолетнего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752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и</a:t>
                      </a:r>
                      <a:r>
                        <a:rPr lang="ru-RU" sz="1400" u="none" strike="noStrike" dirty="0" smtClean="0">
                          <a:solidFill>
                            <a:schemeClr val="accent1"/>
                          </a:solidFill>
                          <a:effectLst/>
                        </a:rPr>
                        <a:t>ное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4246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ПФ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использование материнского капитала на погашение ипотечного кредита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6540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Н</a:t>
                      </a:r>
                      <a:r>
                        <a:rPr lang="ru-RU" sz="1400" u="none" strike="noStrike" dirty="0" smtClean="0">
                          <a:effectLst/>
                        </a:rPr>
                        <a:t>отариус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вступление в наследство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287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оформление соглашения об определении долей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36634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 smtClean="0">
                          <a:effectLst/>
                        </a:rPr>
                        <a:t>В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УФСС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Иное</a:t>
                      </a:r>
                      <a:endParaRPr lang="ru-RU" sz="1400" b="0" i="0" u="none" strike="noStrike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366347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ВСЕГО</a:t>
                      </a:r>
                      <a:r>
                        <a:rPr lang="en-US" sz="1800" b="1" i="0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: 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 dirty="0" smtClean="0"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15</a:t>
                      </a:r>
                      <a:endParaRPr lang="ru-RU" sz="2000" b="0" i="0" u="none" strike="noStrike" dirty="0">
                        <a:solidFill>
                          <a:schemeClr val="tx2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804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-702141" y="4229305"/>
            <a:ext cx="3028601" cy="2334800"/>
          </a:xfrm>
        </p:spPr>
        <p:txBody>
          <a:bodyPr/>
          <a:lstStyle/>
          <a:p>
            <a:r>
              <a:rPr lang="ru-RU" dirty="0" smtClean="0"/>
              <a:t>Результаты анкетирования МФЦ за октябрь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717338" y="10121900"/>
            <a:ext cx="3402012" cy="569913"/>
          </a:xfrm>
          <a:prstGeom prst="rect">
            <a:avLst/>
          </a:prstGeom>
        </p:spPr>
        <p:txBody>
          <a:bodyPr/>
          <a:lstStyle/>
          <a:p>
            <a:pPr algn="r"/>
            <a:fld id="{438F3C6B-AB20-F24E-B142-B6CD49824CEA}" type="slidenum">
              <a:rPr lang="ru-RU" smtClean="0"/>
              <a:pPr algn="r"/>
              <a:t>17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8148664"/>
              </p:ext>
            </p:extLst>
          </p:nvPr>
        </p:nvGraphicFramePr>
        <p:xfrm>
          <a:off x="3441700" y="0"/>
          <a:ext cx="11677651" cy="107603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73042"/>
                <a:gridCol w="1391014"/>
                <a:gridCol w="6113595"/>
              </a:tblGrid>
              <a:tr h="2138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наименование </a:t>
                      </a:r>
                      <a:r>
                        <a:rPr lang="ru-RU" sz="1400" u="none" strike="noStrike" dirty="0">
                          <a:effectLst/>
                        </a:rPr>
                        <a:t>организаци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кол-во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услуг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2527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 dirty="0">
                          <a:effectLst/>
                        </a:rPr>
                        <a:t>ПАО "</a:t>
                      </a:r>
                      <a:r>
                        <a:rPr lang="ru-RU" sz="1800" u="none" strike="noStrike" dirty="0" err="1">
                          <a:effectLst/>
                        </a:rPr>
                        <a:t>Россети</a:t>
                      </a:r>
                      <a:r>
                        <a:rPr lang="ru-RU" sz="1800" u="none" strike="noStrike" dirty="0">
                          <a:effectLst/>
                        </a:rPr>
                        <a:t> Ленэнерго"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 rowSpan="3">
                  <a:txBody>
                    <a:bodyPr/>
                    <a:lstStyle/>
                    <a:p>
                      <a:pPr algn="r" fontAlgn="ctr"/>
                      <a:r>
                        <a:rPr lang="ru-RU" sz="1800" u="none" strike="noStrike" dirty="0">
                          <a:effectLst/>
                        </a:rPr>
                        <a:t>48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для подключения к электроснабжению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для увеличения мощности электроэнергии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138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восстановление утраченных документ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7408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u="none" strike="noStrike" dirty="0">
                          <a:effectLst/>
                        </a:rPr>
                        <a:t>Всего: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800" u="none" strike="noStrike">
                          <a:effectLst/>
                        </a:rPr>
                        <a:t>48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74087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 dirty="0">
                          <a:effectLst/>
                        </a:rPr>
                        <a:t>Банки (наименование)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408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 dirty="0">
                          <a:effectLst/>
                        </a:rPr>
                        <a:t>ПАО </a:t>
                      </a:r>
                      <a:r>
                        <a:rPr lang="ru-RU" sz="1800" u="none" strike="noStrike" dirty="0" err="1">
                          <a:effectLst/>
                        </a:rPr>
                        <a:t>Сербанк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800" u="none" strike="noStrike" dirty="0">
                          <a:effectLst/>
                        </a:rPr>
                        <a:t>15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</a:rPr>
                        <a:t>получение кредит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740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800" u="none" strike="noStrike" dirty="0">
                          <a:effectLst/>
                        </a:rPr>
                        <a:t>1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 err="1">
                          <a:effectLst/>
                        </a:rPr>
                        <a:t>рефенансирование</a:t>
                      </a:r>
                      <a:r>
                        <a:rPr lang="ru-RU" sz="1200" u="none" strike="noStrike" dirty="0">
                          <a:effectLst/>
                        </a:rPr>
                        <a:t> ипотек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740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800" u="none" strike="noStrike" dirty="0">
                          <a:effectLst/>
                        </a:rPr>
                        <a:t>1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Иное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6117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Банк Санкт-Петербург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</a:rPr>
                        <a:t>одобрение кредит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ПАО ВТБ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5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</a:rPr>
                        <a:t>одобрение сделки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</a:rPr>
                        <a:t>рефенансирование ипотеки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ПАО </a:t>
                      </a:r>
                      <a:r>
                        <a:rPr lang="ru-RU" sz="1050" u="none" strike="noStrike" dirty="0" err="1">
                          <a:effectLst/>
                        </a:rPr>
                        <a:t>Россельхозбанк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</a:rPr>
                        <a:t>одобрение сделки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</a:rPr>
                        <a:t>рефенансирование ипотеки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 err="1">
                          <a:effectLst/>
                        </a:rPr>
                        <a:t>Альфабанк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одобрение сделки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</a:rPr>
                        <a:t>Всего: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33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 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611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 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 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 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61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Газовая компани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1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для подключения к газоснабжению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 dirty="0">
                          <a:effectLst/>
                        </a:rPr>
                        <a:t>Всего: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1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 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78925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МВД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1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для регистрации по месту жительств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4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миграционный учет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9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получение вида на жительство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9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регистрация по месту пребывани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9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снятие с регистрационного учет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Всего: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21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 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65504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администрации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присвоение адрес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406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предоставление жилплощади  в улучшение жилищных услов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699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приватизация </a:t>
                      </a:r>
                      <a:r>
                        <a:rPr lang="ru-RU" sz="1050" u="none" strike="noStrike" dirty="0" err="1">
                          <a:effectLst/>
                        </a:rPr>
                        <a:t>крартиры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406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для получения государственной или муниципальной услуги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406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предоставление жилплощади  в улучшение жилищных услов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406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изменение вида разрешенного использовани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3193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постановка в очередь в качестве нуждающихся в улучшение жилищных услов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619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разрешение на реконструкцию здани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833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уведомление о начале строительств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833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Всего: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2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 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0128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Водоканал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технологическое присоединение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201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перезаключение договор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4065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Органы опеки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Разрешение на продажу имущества </a:t>
                      </a:r>
                      <a:r>
                        <a:rPr lang="ru-RU" sz="1050" u="none" strike="noStrike" dirty="0" smtClean="0">
                          <a:effectLst/>
                        </a:rPr>
                        <a:t>несовершеннолетнего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878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Иное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3193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ПФР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использование материнского капитала на погашение ипотечного кредит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6117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нотариу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вступление в наследство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833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оформление соглашения об определении доле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3192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</a:rPr>
                        <a:t>для предоставления в федеральную службу судебных приставов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Иное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6117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</a:rPr>
                        <a:t>ФН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 dirty="0">
                          <a:effectLst/>
                        </a:rPr>
                        <a:t>1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</a:rPr>
                        <a:t>иное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9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u="none" strike="noStrike" dirty="0">
                          <a:effectLst/>
                        </a:rPr>
                        <a:t>для получения налогового вычет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9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постановка на налоговый учет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Межведомственная комиссия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 err="1">
                          <a:effectLst/>
                        </a:rPr>
                        <a:t>переплинировк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833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Минспорт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сертификация на проведение мероприят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1611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Вооруженные силы РФ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Социальные выплаты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1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КСЗ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детские пособи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833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работодателю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компенсация стоимости аренды помещени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833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управляющая компания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</a:rPr>
                        <a:t>компенсация стоимости аренды помещени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b"/>
                </a:tc>
              </a:tr>
              <a:tr h="1619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u="none" strike="noStrike">
                          <a:effectLst/>
                        </a:rPr>
                        <a:t>Фонд капитального ремонт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u="none" strike="noStrike">
                          <a:effectLst/>
                        </a:rPr>
                        <a:t>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перерасчет взносов за капремонт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</a:tr>
              <a:tr h="21386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effectLst/>
                        </a:rPr>
                        <a:t>Всего: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u="none" strike="noStrike" dirty="0">
                          <a:effectLst/>
                        </a:rPr>
                        <a:t>3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24" marR="3124" marT="3124" marB="0" anchor="ctr"/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3124" marR="3124" marT="3124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115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5367974"/>
              </p:ext>
            </p:extLst>
          </p:nvPr>
        </p:nvGraphicFramePr>
        <p:xfrm>
          <a:off x="2" y="1346189"/>
          <a:ext cx="15119347" cy="9032105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960"/>
                <a:gridCol w="2513980"/>
                <a:gridCol w="2372518"/>
                <a:gridCol w="1077132"/>
                <a:gridCol w="1182625"/>
                <a:gridCol w="1547064"/>
                <a:gridCol w="1472685"/>
                <a:gridCol w="1309055"/>
                <a:gridCol w="1416164"/>
                <a:gridCol w="1416164"/>
              </a:tblGrid>
              <a:tr h="720294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763060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результат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550863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77344">
                <a:tc gridSpan="10">
                  <a:txBody>
                    <a:bodyPr/>
                    <a:lstStyle/>
                    <a:p>
                      <a:pPr marL="0" marR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Раздел 3. Осуществление кадастрового учета и (или) регистрации прав</a:t>
                      </a:r>
                      <a:endParaRPr lang="ru-RU" sz="2750" b="1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3471" marR="33471" marT="55065" marB="55065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  <a:tc hMerge="1">
                  <a:txBody>
                    <a:bodyPr/>
                    <a:lstStyle/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75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471" marR="33471" marT="55065" marB="55065"/>
                </a:tc>
              </a:tr>
              <a:tr h="2126804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.1.</a:t>
                      </a:r>
                      <a:endParaRPr lang="ru-RU" sz="20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Срок постановки на государственный кадастровый учет и (или) государственной регистрации прав собственности</a:t>
                      </a:r>
                      <a:endParaRPr lang="ru-RU" sz="20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.1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средний фактический срок осуществления государственного кадастрового учета, рабочих </a:t>
                      </a: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ней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4</a:t>
                      </a:r>
                      <a:endParaRPr lang="ru-RU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4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4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4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4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УР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  <a:endParaRPr lang="ru-RU" sz="18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17590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.1.2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средний фактический срок регистрации прав, рабочих </a:t>
                      </a: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ней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7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2F2F2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5</a:t>
                      </a:r>
                      <a:endParaRPr kumimoji="0" lang="ru-RU" sz="27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2F2F2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dirty="0"/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УР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  <a:endParaRPr lang="ru-RU" sz="1800" dirty="0">
                        <a:solidFill>
                          <a:srgbClr val="34A290"/>
                        </a:solidFill>
                      </a:endParaRPr>
                    </a:p>
                  </a:txBody>
                  <a:tcPr/>
                </a:tc>
              </a:tr>
              <a:tr h="24284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.1.3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средний фактический срок регистрации прав по заявлениям, поданным в электронном виде, рабочих </a:t>
                      </a: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ней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7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3</a:t>
                      </a:r>
                      <a:endParaRPr kumimoji="0" lang="ru-RU" sz="27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3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3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3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3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УР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  <a:endParaRPr lang="ru-RU" sz="1800" dirty="0">
                        <a:solidFill>
                          <a:srgbClr val="34A29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2" y="470663"/>
            <a:ext cx="1416208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8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2" y="10336638"/>
            <a:ext cx="15120000" cy="41976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717821" y="10197309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1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235779" y="4722238"/>
            <a:ext cx="606994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5 раб. дней</a:t>
            </a:r>
            <a:endParaRPr lang="ru-RU" sz="4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417843" y="6534229"/>
            <a:ext cx="628770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4 раб. дня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540580" y="8834772"/>
            <a:ext cx="633943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1 раб. день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52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354244"/>
              </p:ext>
            </p:extLst>
          </p:nvPr>
        </p:nvGraphicFramePr>
        <p:xfrm>
          <a:off x="0" y="1346189"/>
          <a:ext cx="15119350" cy="9152570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961"/>
                <a:gridCol w="2513979"/>
                <a:gridCol w="2372518"/>
                <a:gridCol w="1077132"/>
                <a:gridCol w="1182625"/>
                <a:gridCol w="1547065"/>
                <a:gridCol w="1472686"/>
                <a:gridCol w="1309054"/>
                <a:gridCol w="1416165"/>
                <a:gridCol w="1416165"/>
              </a:tblGrid>
              <a:tr h="1001778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745614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результат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766134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08642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.2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фессионализм участников кадастрового учета и (или) регистрации прав</a:t>
                      </a:r>
                      <a:endParaRPr lang="ru-RU" sz="1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.2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заявлений о постановке на государственный кадастровый учет, в том числе с одновременной регистрацией прав, рассмотрение которых приостановлено государственным регистратором прав по основаниям, указанным в </a:t>
                      </a:r>
                      <a:r>
                        <a:rPr lang="ru-RU" sz="125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hlinkClick r:id="rId3"/>
                        </a:rPr>
                        <a:t>статье 26</a:t>
                      </a:r>
                      <a:r>
                        <a:rPr lang="ru-RU" sz="12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 Федерального закона "О государственной регистрации недвижимости", в общем количестве таких заявлений, процентов</a:t>
                      </a:r>
                      <a:endParaRPr lang="ru-RU" sz="12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10</a:t>
                      </a:r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6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УР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  <a:endParaRPr lang="en-US" sz="1800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endParaRPr lang="en-US" sz="1800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Поступило</a:t>
                      </a:r>
                      <a:r>
                        <a:rPr lang="ru-RU" sz="1800" baseline="0" dirty="0" smtClean="0">
                          <a:solidFill>
                            <a:schemeClr val="accent1"/>
                          </a:solidFill>
                        </a:rPr>
                        <a:t> на ГКУ и ЕП-79 184</a:t>
                      </a:r>
                    </a:p>
                    <a:p>
                      <a:pPr algn="l"/>
                      <a:r>
                        <a:rPr lang="ru-RU" sz="1800" baseline="0" dirty="0" smtClean="0">
                          <a:solidFill>
                            <a:schemeClr val="accent1"/>
                          </a:solidFill>
                        </a:rPr>
                        <a:t>Приостановлено по ГКУ и ЕП- </a:t>
                      </a:r>
                    </a:p>
                    <a:p>
                      <a:pPr algn="l"/>
                      <a:r>
                        <a:rPr lang="ru-RU" sz="1800" baseline="0" dirty="0" smtClean="0">
                          <a:solidFill>
                            <a:schemeClr val="accent1"/>
                          </a:solidFill>
                        </a:rPr>
                        <a:t>13 648</a:t>
                      </a:r>
                      <a:endParaRPr lang="en-US" sz="18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</a:tr>
              <a:tr h="320864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.2.2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заявлений о государственной регистрации прав, рассмотрение которых приостановлено государственным регистратором прав по основаниям, указанным в </a:t>
                      </a:r>
                      <a:r>
                        <a:rPr lang="ru-RU" sz="1250" u="none" strike="noStrike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hlinkClick r:id="rId3"/>
                        </a:rPr>
                        <a:t>статье 26</a:t>
                      </a:r>
                      <a:r>
                        <a:rPr lang="ru-RU" sz="12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 Федерального закона "О государственной регистрации недвижимости", в общем количестве поданных заявлений о государственной регистрации прав, процентов</a:t>
                      </a:r>
                      <a:endParaRPr lang="ru-RU" sz="12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7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2F2F2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3</a:t>
                      </a:r>
                      <a:endParaRPr kumimoji="0" lang="ru-RU" sz="27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2F2F2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dirty="0"/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3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,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2,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26" marR="24126" marT="39690" marB="396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УРР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pPr algn="l"/>
                      <a:endParaRPr lang="ru-RU" sz="1800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Поступило по ГРП- </a:t>
                      </a:r>
                    </a:p>
                    <a:p>
                      <a:pPr algn="l"/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289 734</a:t>
                      </a:r>
                    </a:p>
                    <a:p>
                      <a:pPr algn="l"/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Приостановлено – </a:t>
                      </a:r>
                    </a:p>
                    <a:p>
                      <a:pPr algn="l"/>
                      <a:r>
                        <a:rPr lang="ru-RU" sz="1800" dirty="0" smtClean="0">
                          <a:solidFill>
                            <a:schemeClr val="accent1"/>
                          </a:solidFill>
                        </a:rPr>
                        <a:t>10 862</a:t>
                      </a:r>
                      <a:endParaRPr lang="ru-RU" sz="180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2" y="470663"/>
            <a:ext cx="1416208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8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10276999"/>
            <a:ext cx="15120000" cy="47402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717495" y="10204826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1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156849" y="4509766"/>
            <a:ext cx="654849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</a:t>
            </a: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17,24% </a:t>
            </a:r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(новая методика)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8,45% </a:t>
            </a:r>
            <a:r>
              <a:rPr lang="ru-RU" sz="24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(старая методика)</a:t>
            </a:r>
            <a:endParaRPr lang="ru-RU" sz="24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525148" y="7975083"/>
            <a:ext cx="581189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</a:t>
            </a: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3,75% </a:t>
            </a:r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(новая методика)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2,21 % </a:t>
            </a:r>
            <a:r>
              <a:rPr lang="ru-RU" sz="24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(старая методика)</a:t>
            </a:r>
            <a:endParaRPr lang="ru-RU" sz="24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423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10210800"/>
            <a:ext cx="15120000" cy="468054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21256" y="10160207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8448269"/>
              </p:ext>
            </p:extLst>
          </p:nvPr>
        </p:nvGraphicFramePr>
        <p:xfrm>
          <a:off x="1" y="1237903"/>
          <a:ext cx="15119350" cy="8972896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634617"/>
                <a:gridCol w="2379816"/>
                <a:gridCol w="3245204"/>
                <a:gridCol w="1024043"/>
                <a:gridCol w="1115961"/>
                <a:gridCol w="1408086"/>
                <a:gridCol w="1355773"/>
                <a:gridCol w="1298082"/>
                <a:gridCol w="1197120"/>
                <a:gridCol w="1460648"/>
              </a:tblGrid>
              <a:tr h="803489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000" dirty="0" smtClean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20740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</a:tr>
              <a:tr h="535265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sz="24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sz="24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97192">
                <a:tc gridSpan="10"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>
                          <a:solidFill>
                            <a:srgbClr val="37373A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Раздел 1. Анализ территории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216210"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1.1. </a:t>
                      </a:r>
                      <a:endParaRPr kumimoji="0" lang="ru-RU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Обеспечение приведения документов градостроительного зонирования в соответствии с требованиями законодательства Российской Федерации</a:t>
                      </a:r>
                      <a:endParaRPr kumimoji="0" lang="ru-RU" sz="2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1.1.1.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доля территориальных зон, сведения о границах которых внесены в Единый государственный реестр недвижимости, в общем количестве территориальных зон, установленных правилами землепользования и застройки, на территории субъекта Российской Федерации, процентов</a:t>
                      </a:r>
                      <a:endParaRPr kumimoji="0" lang="ru-RU" sz="2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100</a:t>
                      </a:r>
                      <a:endParaRPr lang="ru-RU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60</a:t>
                      </a:r>
                      <a:endParaRPr lang="ru-RU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747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747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КГП</a:t>
                      </a:r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</a:p>
                    <a:p>
                      <a:endParaRPr lang="ru-RU" sz="1800" dirty="0" smtClean="0"/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 smtClean="0">
                          <a:solidFill>
                            <a:schemeClr val="accent1"/>
                          </a:solidFill>
                          <a:effectLst/>
                          <a:latin typeface="Segoe UI Black" panose="020B0A02040204020203" pitchFamily="34" charset="0"/>
                          <a:ea typeface="Segoe UI Black" panose="020B0A02040204020203" pitchFamily="34" charset="0"/>
                        </a:rPr>
                        <a:t>(внесено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 smtClean="0">
                          <a:solidFill>
                            <a:schemeClr val="accent1"/>
                          </a:solidFill>
                          <a:effectLst/>
                          <a:latin typeface="Segoe UI Black" panose="020B0A02040204020203" pitchFamily="34" charset="0"/>
                          <a:ea typeface="Segoe UI Black" panose="020B0A02040204020203" pitchFamily="34" charset="0"/>
                        </a:rPr>
                        <a:t>3 574 из 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 smtClean="0">
                          <a:solidFill>
                            <a:schemeClr val="accent1"/>
                          </a:solidFill>
                          <a:effectLst/>
                          <a:latin typeface="Segoe UI Black" panose="020B0A02040204020203" pitchFamily="34" charset="0"/>
                          <a:ea typeface="Segoe UI Black" panose="020B0A02040204020203" pitchFamily="34" charset="0"/>
                        </a:rPr>
                        <a:t>3 674)</a:t>
                      </a:r>
                      <a:r>
                        <a:rPr lang="ru-RU" sz="1800" b="0" dirty="0" smtClean="0">
                          <a:solidFill>
                            <a:schemeClr val="accent1"/>
                          </a:solidFill>
                          <a:effectLst/>
                        </a:rPr>
                        <a:t> </a:t>
                      </a:r>
                    </a:p>
                    <a:p>
                      <a:endParaRPr lang="ru-RU" sz="1800" dirty="0" smtClean="0"/>
                    </a:p>
                    <a:p>
                      <a:endParaRPr lang="ru-RU" sz="1800" dirty="0" smtClean="0"/>
                    </a:p>
                    <a:p>
                      <a:endParaRPr lang="ru-RU" sz="18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009575" y="268704"/>
            <a:ext cx="138739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478192"/>
            <a:r>
              <a:rPr lang="ru-RU" sz="3600" kern="0" dirty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131019" y="6389522"/>
            <a:ext cx="709404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</a:t>
            </a:r>
          </a:p>
          <a:p>
            <a:pPr algn="ctr"/>
            <a:r>
              <a:rPr lang="ru-RU" sz="44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значение </a:t>
            </a:r>
          </a:p>
          <a:p>
            <a:pPr algn="ctr"/>
            <a:r>
              <a:rPr lang="ru-RU" sz="66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97,28%</a:t>
            </a:r>
          </a:p>
        </p:txBody>
      </p:sp>
    </p:spTree>
    <p:extLst>
      <p:ext uri="{BB962C8B-B14F-4D97-AF65-F5344CB8AC3E}">
        <p14:creationId xmlns:p14="http://schemas.microsoft.com/office/powerpoint/2010/main" val="3753605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012" y="191424"/>
            <a:ext cx="584563" cy="888307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2" y="470663"/>
            <a:ext cx="1416208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8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990873" y="3504496"/>
            <a:ext cx="2002221" cy="4032829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ru-RU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з </a:t>
            </a:r>
            <a:r>
              <a:rPr lang="ru-RU" sz="8800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</a:t>
            </a:r>
            <a:r>
              <a:rPr lang="ru-RU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показателей </a:t>
            </a:r>
          </a:p>
          <a:p>
            <a:pPr algn="ctr"/>
            <a:r>
              <a:rPr lang="ru-RU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ЦМ по состоянию </a:t>
            </a:r>
            <a:endParaRPr lang="en-US" sz="4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 01.10.2021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</a:p>
        </p:txBody>
      </p:sp>
      <p:sp>
        <p:nvSpPr>
          <p:cNvPr id="3" name="Стрелка вправо 2"/>
          <p:cNvSpPr/>
          <p:nvPr/>
        </p:nvSpPr>
        <p:spPr>
          <a:xfrm>
            <a:off x="7156230" y="2269325"/>
            <a:ext cx="3568701" cy="1701800"/>
          </a:xfrm>
          <a:prstGeom prst="rightArrow">
            <a:avLst/>
          </a:prstGeom>
          <a:solidFill>
            <a:schemeClr val="bg1"/>
          </a:solidFill>
          <a:ln w="57150" cap="rnd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ru-RU" sz="2000" b="1" dirty="0" smtClean="0">
                <a:solidFill>
                  <a:schemeClr val="tx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полнено </a:t>
            </a:r>
            <a:r>
              <a:rPr lang="ru-RU" sz="2000" b="1" dirty="0" smtClean="0">
                <a:solidFill>
                  <a:schemeClr val="tx1">
                    <a:lumMod val="50000"/>
                  </a:schemeClr>
                </a:solidFill>
              </a:rPr>
              <a:t>     </a:t>
            </a:r>
            <a:r>
              <a:rPr lang="ru-RU" sz="4800" b="1" dirty="0" smtClean="0">
                <a:solidFill>
                  <a:schemeClr val="tx1">
                    <a:lumMod val="50000"/>
                  </a:schemeClr>
                </a:solidFill>
              </a:rPr>
              <a:t>15</a:t>
            </a:r>
            <a:endParaRPr lang="ru-RU" sz="48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7338599" y="4465679"/>
            <a:ext cx="3568701" cy="1701800"/>
          </a:xfrm>
          <a:prstGeom prst="rightArrow">
            <a:avLst/>
          </a:prstGeom>
          <a:noFill/>
          <a:ln w="57150" cap="rnd" cmpd="sng" algn="ctr">
            <a:solidFill>
              <a:srgbClr val="339A84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2000" b="1" dirty="0">
                <a:solidFill>
                  <a:schemeClr val="tx1">
                    <a:lumMod val="50000"/>
                  </a:schemeClr>
                </a:solidFill>
              </a:rPr>
              <a:t>Не </a:t>
            </a:r>
            <a:r>
              <a:rPr lang="ru-RU" sz="2000" b="1" dirty="0" smtClean="0">
                <a:solidFill>
                  <a:schemeClr val="tx1">
                    <a:lumMod val="50000"/>
                  </a:schemeClr>
                </a:solidFill>
              </a:rPr>
              <a:t>выполнено   </a:t>
            </a:r>
            <a:r>
              <a:rPr lang="ru-RU" sz="4800" b="1" dirty="0" smtClean="0">
                <a:solidFill>
                  <a:schemeClr val="tx1">
                    <a:lumMod val="50000"/>
                  </a:schemeClr>
                </a:solidFill>
              </a:rPr>
              <a:t>14</a:t>
            </a:r>
            <a:endParaRPr lang="ru-RU" sz="4800" dirty="0">
              <a:solidFill>
                <a:schemeClr val="tx1">
                  <a:lumMod val="50000"/>
                </a:schemeClr>
              </a:solidFill>
            </a:endParaRPr>
          </a:p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  <p:sp>
        <p:nvSpPr>
          <p:cNvPr id="16" name="Стрелка вправо 15"/>
          <p:cNvSpPr/>
          <p:nvPr/>
        </p:nvSpPr>
        <p:spPr>
          <a:xfrm>
            <a:off x="7128830" y="6686425"/>
            <a:ext cx="3568701" cy="1701800"/>
          </a:xfrm>
          <a:prstGeom prst="rightArrow">
            <a:avLst/>
          </a:prstGeom>
          <a:noFill/>
          <a:ln w="57150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2000" b="1" dirty="0">
                <a:solidFill>
                  <a:schemeClr val="tx1">
                    <a:lumMod val="50000"/>
                  </a:schemeClr>
                </a:solidFill>
              </a:rPr>
              <a:t>Нет</a:t>
            </a:r>
            <a:r>
              <a:rPr lang="ru-RU" sz="12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ru-RU" sz="2000" b="1" dirty="0" smtClean="0">
                <a:solidFill>
                  <a:schemeClr val="tx1">
                    <a:lumMod val="50000"/>
                  </a:schemeClr>
                </a:solidFill>
              </a:rPr>
              <a:t>данных        </a:t>
            </a:r>
            <a:r>
              <a:rPr lang="ru-RU" sz="4800" b="1" dirty="0">
                <a:solidFill>
                  <a:schemeClr val="tx1">
                    <a:lumMod val="50000"/>
                  </a:schemeClr>
                </a:solidFill>
              </a:rPr>
              <a:t>1</a:t>
            </a:r>
            <a:endParaRPr lang="ru-RU" sz="4800" dirty="0">
              <a:solidFill>
                <a:schemeClr val="tx1">
                  <a:lumMod val="50000"/>
                </a:schemeClr>
              </a:solidFill>
            </a:endParaRPr>
          </a:p>
          <a:p>
            <a:pPr algn="ctr"/>
            <a:endParaRPr lang="ru-RU" sz="1200" dirty="0" err="1" smtClean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24449F98-845C-D542-B651-499056AB6F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89669" y="3902441"/>
            <a:ext cx="3793872" cy="4078258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481529" y="9850438"/>
            <a:ext cx="3402012" cy="5699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2">
                    <a:lumMod val="10000"/>
                  </a:schemeClr>
                </a:solidFill>
              </a:rPr>
              <a:pPr algn="r"/>
              <a:t>20</a:t>
            </a:fld>
            <a:endParaRPr lang="ru-RU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77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CCD61DA4-7657-334B-8BA3-FAF70D48EA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47"/>
          <a:stretch/>
        </p:blipFill>
        <p:spPr>
          <a:xfrm>
            <a:off x="-246639" y="-1"/>
            <a:ext cx="12514839" cy="1069181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93319" y="372061"/>
            <a:ext cx="2737341" cy="115224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661062" y="10030691"/>
            <a:ext cx="3401854" cy="661121"/>
          </a:xfrm>
          <a:solidFill>
            <a:schemeClr val="bg1"/>
          </a:solidFill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2">
                    <a:lumMod val="10000"/>
                  </a:schemeClr>
                </a:solidFill>
              </a:rPr>
              <a:pPr algn="r"/>
              <a:t>21</a:t>
            </a:fld>
            <a:endParaRPr lang="ru-RU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78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-650" y="10223759"/>
            <a:ext cx="15120000" cy="468054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17496" y="10173166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741432"/>
              </p:ext>
            </p:extLst>
          </p:nvPr>
        </p:nvGraphicFramePr>
        <p:xfrm>
          <a:off x="1" y="1237904"/>
          <a:ext cx="15119350" cy="8985855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634617"/>
                <a:gridCol w="2379816"/>
                <a:gridCol w="3245204"/>
                <a:gridCol w="1024043"/>
                <a:gridCol w="1115961"/>
                <a:gridCol w="1408086"/>
                <a:gridCol w="1355773"/>
                <a:gridCol w="1298082"/>
                <a:gridCol w="1197120"/>
                <a:gridCol w="1460648"/>
              </a:tblGrid>
              <a:tr h="882496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000" dirty="0" smtClean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36262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</a:tr>
              <a:tr h="480172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sz="24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sz="24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66028">
                <a:tc rowSpan="2"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1.2. </a:t>
                      </a:r>
                      <a:endParaRPr kumimoji="0" lang="ru-RU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Учет в Едином государственном реестре недвижимости объектов недвижимости, расположенных на территории субъекта Российской Федерации, в том числе земельных участков с границами, установленными в соответствии с требованиями законодательства Российской Федерации</a:t>
                      </a:r>
                      <a:endParaRPr kumimoji="0" lang="ru-RU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.2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доля площади земельных участков, расположенных на территории субъекта Российской Федерации и учтенных в Едином государственном реестре недвижимости, с границами, установленными в соответствии с требованиями законодательства Российской Федерации, в площади территории такого субъекта Российской </a:t>
                      </a:r>
                      <a:r>
                        <a:rPr lang="ru-RU" sz="12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Федерации (без учета земель, покрытых поверхностными водными объектами, земель лесного фонда и земель запаса), </a:t>
                      </a:r>
                      <a:r>
                        <a:rPr lang="ru-RU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процентов</a:t>
                      </a:r>
                      <a:endParaRPr lang="ru-RU" sz="1200" dirty="0" smtClean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85</a:t>
                      </a:r>
                      <a:endParaRPr lang="ru-RU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90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162" marR="29162" marT="47976" marB="47976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162" marR="29162" marT="47976" marB="47976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162" marR="29162" marT="47976" marB="479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КУГИ</a:t>
                      </a:r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endParaRPr lang="ru-RU" sz="1800" dirty="0" smtClean="0">
                        <a:solidFill>
                          <a:srgbClr val="37373A"/>
                        </a:solidFill>
                      </a:endParaRPr>
                    </a:p>
                    <a:p>
                      <a:r>
                        <a:rPr lang="ru-RU" sz="1800" dirty="0" smtClean="0">
                          <a:solidFill>
                            <a:srgbClr val="37373A"/>
                          </a:solidFill>
                        </a:rPr>
                        <a:t>(внесено</a:t>
                      </a:r>
                    </a:p>
                    <a:p>
                      <a:r>
                        <a:rPr lang="ru-RU" sz="1800" dirty="0" smtClean="0">
                          <a:solidFill>
                            <a:srgbClr val="37373A"/>
                          </a:solidFill>
                        </a:rPr>
                        <a:t>9 087 688 758 из </a:t>
                      </a:r>
                    </a:p>
                    <a:p>
                      <a:r>
                        <a:rPr lang="ru-RU" sz="1800" dirty="0" smtClean="0">
                          <a:solidFill>
                            <a:srgbClr val="37373A"/>
                          </a:solidFill>
                        </a:rPr>
                        <a:t>59 399 888 976)</a:t>
                      </a:r>
                      <a:endParaRPr lang="ru-RU" sz="18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382089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.2.2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доля объектов недвижимости, включенных в единый государственный реестр объектов культурного наследия (памятников истории и культуры) народов Российской Федерации (за исключением объектов культурного наследия, включенных в </a:t>
                      </a:r>
                      <a:r>
                        <a:rPr lang="ru-RU" sz="100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hlinkClick r:id="rId3"/>
                        </a:rPr>
                        <a:t>перечень</a:t>
                      </a:r>
                      <a:r>
                        <a:rPr lang="ru-RU" sz="10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 отдельных объектов культурного наследия федерального значения, полномочия по государственной охране которых осуществляет Минкультуры России, утвержденный распоряжением Правительства Российской Федерации от 1 июня 2009 г. N 759-р, а также объектов религиозного значения), сведения о которых внесены в Единый государственный реестр недвижимости, в общем количестве таких объектов культурного наследия, включенных в единый государственный реестр объектов культурного наследия (памятников истории и культуры) народов Российской Федерации, на территории субъекта Российской Федерации, процентов</a:t>
                      </a:r>
                      <a:endParaRPr lang="ru-RU" sz="1000" dirty="0" smtClean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90</a:t>
                      </a:r>
                      <a:endParaRPr lang="ru-RU" sz="2750" dirty="0" smtClean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90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162" marR="29162" marT="47976" marB="47976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162" marR="29162" marT="47976" marB="47976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162" marR="29162" marT="47976" marB="47976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162" marR="29162" marT="47976" marB="479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КК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009575" y="268704"/>
            <a:ext cx="138739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478192"/>
            <a:r>
              <a:rPr lang="ru-RU" sz="3600" kern="0" dirty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938339" y="3950475"/>
            <a:ext cx="606994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15,30% </a:t>
            </a:r>
            <a:endParaRPr lang="ru-RU" sz="4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112670" y="7581659"/>
            <a:ext cx="606994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  <a:endParaRPr lang="ru-RU" sz="4000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77% </a:t>
            </a:r>
            <a:endParaRPr lang="ru-RU" sz="4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139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-651" y="10223759"/>
            <a:ext cx="15120000" cy="468054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776672" y="10152093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897554"/>
              </p:ext>
            </p:extLst>
          </p:nvPr>
        </p:nvGraphicFramePr>
        <p:xfrm>
          <a:off x="0" y="1237906"/>
          <a:ext cx="15119349" cy="8985853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634617"/>
                <a:gridCol w="2379816"/>
                <a:gridCol w="3245204"/>
                <a:gridCol w="1024042"/>
                <a:gridCol w="1115961"/>
                <a:gridCol w="1408086"/>
                <a:gridCol w="1355773"/>
                <a:gridCol w="1298082"/>
                <a:gridCol w="1197120"/>
                <a:gridCol w="1460648"/>
              </a:tblGrid>
              <a:tr h="1000286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000" dirty="0" smtClean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70976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</a:tr>
              <a:tr h="502810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sz="24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sz="24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711781"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2.3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территорий объектов культурного наследия, включенных в единый государственный реестр объектов культурного наследия (памятников истории и культуры) народов Российской Федерации (за исключением объектов культурного наследия, включенных в </a:t>
                      </a:r>
                      <a:r>
                        <a:rPr lang="ru-RU" sz="1300" u="none" strike="noStrike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hlinkClick r:id="rId3"/>
                        </a:rPr>
                        <a:t>перечень</a:t>
                      </a:r>
                      <a:r>
                        <a:rPr lang="ru-RU" sz="13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 отдельных объектов культурного наследия федерального значения, полномочия по государственной охране которых осуществляет Минкультуры России, утвержденный распоряжением Правительства Российской Федерации от 1 июня 2009 г. N 759-р, а также объектов религиозного значения), сведения о которых внесены в Единый государственный реестр недвижимости, в общем количестве таких объектов культурного наследия, включенных в Единый государственный реестр объектов культурного наследия (памятников истории и культуры) народов Российской Федерации, на территории субъекта Российской Федерации, процентов</a:t>
                      </a:r>
                      <a:endParaRPr lang="ru-RU" sz="130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9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КК</a:t>
                      </a:r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009575" y="268704"/>
            <a:ext cx="138739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478192"/>
            <a:r>
              <a:rPr lang="ru-RU" sz="3600" kern="0" dirty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009507" y="4775492"/>
            <a:ext cx="6069943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</a:t>
            </a:r>
          </a:p>
          <a:p>
            <a:pPr algn="ctr"/>
            <a:r>
              <a:rPr lang="ru-RU" sz="44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значение </a:t>
            </a:r>
          </a:p>
          <a:p>
            <a:pPr algn="ctr"/>
            <a:r>
              <a:rPr lang="ru-RU" sz="5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81% </a:t>
            </a:r>
            <a:endParaRPr lang="ru-RU" sz="5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0875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1497472"/>
              </p:ext>
            </p:extLst>
          </p:nvPr>
        </p:nvGraphicFramePr>
        <p:xfrm>
          <a:off x="1" y="1295179"/>
          <a:ext cx="15119348" cy="8902923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09063"/>
                <a:gridCol w="2275376"/>
                <a:gridCol w="2614019"/>
                <a:gridCol w="1077131"/>
                <a:gridCol w="1182625"/>
                <a:gridCol w="1547064"/>
                <a:gridCol w="1472686"/>
                <a:gridCol w="1309054"/>
                <a:gridCol w="1416165"/>
                <a:gridCol w="1416165"/>
              </a:tblGrid>
              <a:tr h="669702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840832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520867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57238">
                <a:tc rowSpan="3"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575757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1.3. </a:t>
                      </a:r>
                      <a:endParaRPr kumimoji="0" lang="ru-RU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Внесение в Единый государственный реестр недвижимости сведений о границах административно-территориальных образований</a:t>
                      </a:r>
                      <a:endParaRPr lang="ru-RU" sz="200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3.1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количества участков границ между субъектами Российской Федерации, сведения о которых внесены в Единый государственный реестр недвижимости, в общем количестве участков границ между субъектами Российской Федерации, процентов &lt;1&gt;</a:t>
                      </a:r>
                    </a:p>
                  </a:txBody>
                  <a:tcPr marL="29162" marR="29162" marT="47976" marB="479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60</a:t>
                      </a:r>
                      <a:endParaRPr lang="ru-RU" sz="2750" b="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КУГИ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r>
                        <a:rPr lang="ru-RU" sz="11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(внесены 2 границы из 5 с Псковской</a:t>
                      </a:r>
                      <a:r>
                        <a:rPr lang="ru-RU" sz="11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 и Новгородской областями</a:t>
                      </a:r>
                      <a:r>
                        <a:rPr lang="ru-RU" sz="11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)</a:t>
                      </a:r>
                    </a:p>
                    <a:p>
                      <a:pPr algn="l"/>
                      <a:r>
                        <a:rPr lang="ru-RU" sz="11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Остались границы с СПб, Вологодской</a:t>
                      </a:r>
                      <a:r>
                        <a:rPr lang="ru-RU" sz="11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1100" baseline="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обл</a:t>
                      </a:r>
                      <a:r>
                        <a:rPr lang="ru-RU" sz="11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, </a:t>
                      </a:r>
                      <a:r>
                        <a:rPr lang="ru-RU" sz="1100" baseline="0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Р.Карелия</a:t>
                      </a:r>
                      <a:r>
                        <a:rPr lang="ru-RU" sz="1100" baseline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)</a:t>
                      </a:r>
                      <a:endParaRPr lang="ru-RU" sz="11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</a:tr>
              <a:tr h="2283048">
                <a:tc vMerge="1"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2F2F2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1.3.2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2F2F2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доля муниципальных образований субъекта Российской Федерации, сведения о границах которых внесены в Единый государственный реестр недвижимости, в общем количестве муниципальных образований субъекта Российской Федерации, процентов &lt;1&gt;</a:t>
                      </a:r>
                    </a:p>
                  </a:txBody>
                  <a:tcPr marL="29162" marR="29162" marT="47976" marB="47976"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КУГИ</a:t>
                      </a:r>
                    </a:p>
                    <a:p>
                      <a:pPr algn="ctr"/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solidFill>
                          <a:srgbClr val="34A290"/>
                        </a:solidFill>
                      </a:endParaRP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7373A"/>
                          </a:solidFill>
                        </a:rPr>
                        <a:t>(внесено 201 из 205)</a:t>
                      </a:r>
                    </a:p>
                    <a:p>
                      <a:pPr algn="ctr"/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2131236">
                <a:tc vMerge="1"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57575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2F2F2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1.3.3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2F2F2">
                              <a:lumMod val="10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</a:rPr>
                        <a:t>доля населенных пунктов субъекта Российской Федерации, сведения о границах которых внесены в Единый государственный реестр недвижимости, в общем количестве населенных пунктов субъекта Российской Федерации, процентов &lt;1&gt;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2F2F2">
                            <a:lumMod val="10000"/>
                          </a:srgbClr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9162" marR="29162" marT="47976" marB="4797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88</a:t>
                      </a:r>
                      <a:endParaRPr lang="ru-RU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6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8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КУГИ</a:t>
                      </a:r>
                    </a:p>
                    <a:p>
                      <a:pPr algn="ctr"/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solidFill>
                          <a:srgbClr val="37373A"/>
                        </a:solidFill>
                      </a:endParaRP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7373A"/>
                          </a:solidFill>
                        </a:rPr>
                        <a:t>(внесено 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7373A"/>
                          </a:solidFill>
                        </a:rPr>
                        <a:t>2</a:t>
                      </a:r>
                      <a:r>
                        <a:rPr lang="ru-RU" sz="1800" baseline="0" dirty="0" smtClean="0">
                          <a:solidFill>
                            <a:srgbClr val="37373A"/>
                          </a:solidFill>
                        </a:rPr>
                        <a:t> 548</a:t>
                      </a:r>
                      <a:r>
                        <a:rPr lang="ru-RU" sz="1800" dirty="0" smtClean="0">
                          <a:solidFill>
                            <a:srgbClr val="37373A"/>
                          </a:solidFill>
                        </a:rPr>
                        <a:t> из </a:t>
                      </a:r>
                    </a:p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7373A"/>
                          </a:solidFill>
                        </a:rPr>
                        <a:t>2</a:t>
                      </a:r>
                      <a:r>
                        <a:rPr lang="ru-RU" sz="1800" baseline="0" dirty="0" smtClean="0">
                          <a:solidFill>
                            <a:srgbClr val="37373A"/>
                          </a:solidFill>
                        </a:rPr>
                        <a:t> 942</a:t>
                      </a:r>
                      <a:r>
                        <a:rPr lang="ru-RU" sz="1800" dirty="0" smtClean="0">
                          <a:solidFill>
                            <a:srgbClr val="37373A"/>
                          </a:solidFill>
                        </a:rPr>
                        <a:t>)</a:t>
                      </a:r>
                    </a:p>
                    <a:p>
                      <a:pPr algn="ctr"/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2" y="470663"/>
            <a:ext cx="1416208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6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6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10198100"/>
            <a:ext cx="15120000" cy="480754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5320146" y="4164612"/>
            <a:ext cx="85297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40% </a:t>
            </a:r>
            <a:endParaRPr lang="ru-RU" sz="4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889376" y="6457902"/>
            <a:ext cx="739126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  <a:endParaRPr lang="ru-RU" sz="4000" b="1" dirty="0">
              <a:solidFill>
                <a:srgbClr val="0077B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  <a:p>
            <a:pPr algn="ctr"/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 98,05 % </a:t>
            </a:r>
            <a:endParaRPr lang="ru-RU" sz="4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059814" y="8660853"/>
            <a:ext cx="72208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86,61%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7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17496" y="10180043"/>
            <a:ext cx="3401854" cy="569240"/>
          </a:xfrm>
        </p:spPr>
        <p:txBody>
          <a:bodyPr/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272898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0504869"/>
              </p:ext>
            </p:extLst>
          </p:nvPr>
        </p:nvGraphicFramePr>
        <p:xfrm>
          <a:off x="0" y="1102271"/>
          <a:ext cx="15119350" cy="9100790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961"/>
                <a:gridCol w="2513980"/>
                <a:gridCol w="2372517"/>
                <a:gridCol w="1077131"/>
                <a:gridCol w="1182625"/>
                <a:gridCol w="1547065"/>
                <a:gridCol w="1472686"/>
                <a:gridCol w="1309055"/>
                <a:gridCol w="1416165"/>
                <a:gridCol w="1416165"/>
              </a:tblGrid>
              <a:tr h="722186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765065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552310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153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4</a:t>
                      </a:r>
                      <a:endParaRPr lang="ru-RU" sz="12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Внесение в Единый государственный реестр недвижимости сведений о местоположении границ зон затопления и подтопления</a:t>
                      </a:r>
                      <a:endParaRPr lang="ru-RU" sz="1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4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зон затопления и подтопления, сведения о которых внесены в Единый государственный реестр недвижимости, в общем количестве зон затопления и подтопления на территории субъекта Российской Федерации, процентов</a:t>
                      </a: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77</a:t>
                      </a:r>
                      <a:endParaRPr lang="ru-RU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6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75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87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КПР</a:t>
                      </a:r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</a:p>
                    <a:p>
                      <a:pPr algn="ctr"/>
                      <a:endParaRPr lang="ru-RU" sz="1800" dirty="0" smtClean="0">
                        <a:solidFill>
                          <a:srgbClr val="34A290"/>
                        </a:solidFill>
                      </a:endParaRPr>
                    </a:p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</a:rPr>
                        <a:t>(внесена 131 зона из</a:t>
                      </a:r>
                      <a:r>
                        <a:rPr lang="ru-RU" sz="1800" b="1" baseline="0" dirty="0" smtClean="0">
                          <a:solidFill>
                            <a:schemeClr val="accent1"/>
                          </a:solidFill>
                        </a:rPr>
                        <a:t> 169)</a:t>
                      </a:r>
                      <a:endParaRPr lang="ru-RU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</a:tr>
              <a:tr h="46458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5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Внесение в Единый государственный реестр недвижимости сведений об округах санитарной (горно-санитарной) охраны лечебно-оздоровительных местностей, курортов и природных лечебных ресурсов регионального значения</a:t>
                      </a:r>
                      <a:endParaRPr lang="ru-RU" sz="1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5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округов санитарной (горно-санитарной) охраны лечебно-оздоровительных местностей, курортов и природных лечебных ресурсов, сведения о которых внесены в Единый государственный реестр недвижимости, в общем количестве округов санитарной (горно-санитарной) охраны лечебно-оздоровительных местностей, курортов и природных лечебных ресурсов регионального значения на территории субъекта Российской Федерации, процентов</a:t>
                      </a: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40</a:t>
                      </a:r>
                      <a:endParaRPr lang="ru-RU" b="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4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6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8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0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err="1" smtClean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КЗдр</a:t>
                      </a:r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pPr algn="ctr"/>
                      <a:endParaRPr lang="ru-RU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800169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2" y="295626"/>
            <a:ext cx="1416208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</a:t>
            </a:r>
            <a:r>
              <a:rPr lang="ru-RU" sz="36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ЗНАЧЕНИЯ</a:t>
            </a:r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 ПОКАЗАТЕЛЕЙ НА 01.10.2021</a:t>
            </a:r>
            <a:endParaRPr lang="ru-RU" sz="38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170" y="107005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 flipV="1">
            <a:off x="0" y="10121594"/>
            <a:ext cx="15120000" cy="60297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717495" y="10171050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833916" y="3673040"/>
            <a:ext cx="72208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77,5 %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833915" y="6709639"/>
            <a:ext cx="72208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н</a:t>
            </a:r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ет данных</a:t>
            </a:r>
            <a:endParaRPr lang="ru-RU" sz="4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596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2321509"/>
              </p:ext>
            </p:extLst>
          </p:nvPr>
        </p:nvGraphicFramePr>
        <p:xfrm>
          <a:off x="1" y="1346188"/>
          <a:ext cx="15119348" cy="8680667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961"/>
                <a:gridCol w="2513980"/>
                <a:gridCol w="2372517"/>
                <a:gridCol w="1077132"/>
                <a:gridCol w="1182625"/>
                <a:gridCol w="1547063"/>
                <a:gridCol w="1472686"/>
                <a:gridCol w="1309054"/>
                <a:gridCol w="1314283"/>
                <a:gridCol w="1518047"/>
              </a:tblGrid>
              <a:tr h="794698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799456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607765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21771">
                <a:tc row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.6</a:t>
                      </a:r>
                      <a:endParaRPr lang="ru-RU" sz="18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Срок утверждения схемы расположения земельного участка на кадастровом плане территории</a:t>
                      </a:r>
                      <a:endParaRPr lang="ru-RU" sz="20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.6.1.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предельный срок утверждения схемы расположения земельного участка на кадастровом плане территории, рабочих </a:t>
                      </a:r>
                      <a:r>
                        <a:rPr lang="ru-RU" sz="1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дней</a:t>
                      </a: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2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2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0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0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9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УГИ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</a:p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8569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.6.2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9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доля принятых решений об отказе в утверждении схемы расположения земельного участка на кадастровом плане территории в общем количестве таких заявлений, </a:t>
                      </a:r>
                      <a:r>
                        <a:rPr lang="ru-RU" sz="19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процентов</a:t>
                      </a:r>
                      <a:endParaRPr lang="ru-RU" sz="190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5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5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4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3,5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3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УГИ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</a:p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2" y="470663"/>
            <a:ext cx="1416208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6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6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10026855"/>
            <a:ext cx="15120000" cy="65199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717495" y="10063762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650383" y="4202318"/>
            <a:ext cx="72208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12 р. дней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961789" y="7858666"/>
            <a:ext cx="72208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5% </a:t>
            </a:r>
            <a:endParaRPr lang="ru-RU" sz="4000" b="1" dirty="0">
              <a:solidFill>
                <a:srgbClr val="34A2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8995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2164910"/>
              </p:ext>
            </p:extLst>
          </p:nvPr>
        </p:nvGraphicFramePr>
        <p:xfrm>
          <a:off x="1" y="1278730"/>
          <a:ext cx="15119348" cy="8876652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962"/>
                <a:gridCol w="2513980"/>
                <a:gridCol w="2372517"/>
                <a:gridCol w="1077132"/>
                <a:gridCol w="1182625"/>
                <a:gridCol w="1547063"/>
                <a:gridCol w="1472686"/>
                <a:gridCol w="1309054"/>
                <a:gridCol w="1270620"/>
                <a:gridCol w="1561709"/>
              </a:tblGrid>
              <a:tr h="792694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839759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606233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8591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7.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Срок присвоения и изменения адреса объекту адресации</a:t>
                      </a:r>
                      <a:endParaRPr lang="ru-RU" sz="20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7.1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едельный срок присвоения и изменения адреса объекту адресации и внесения его в федеральную информационную адресную систему, рабочих </a:t>
                      </a:r>
                      <a:r>
                        <a:rPr lang="ru-RU" sz="1800" b="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ней</a:t>
                      </a:r>
                      <a:endParaRPr lang="ru-RU" sz="1800" b="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7</a:t>
                      </a:r>
                      <a:endParaRPr lang="ru-RU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7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6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6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5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УГИ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</a:p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1520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7.2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принятых решений об отказе в присвоении и изменении адреса объекту адресации в общем количестве таких заявлений, </a:t>
                      </a:r>
                      <a:r>
                        <a:rPr lang="ru-RU" sz="18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центов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</a:t>
                      </a:r>
                      <a:endParaRPr lang="ru-RU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1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0,7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0,4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</a:rPr>
                        <a:t>0,2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УГИ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rgbClr val="34A290"/>
                          </a:solidFill>
                        </a:rPr>
                        <a:t>Выполнено</a:t>
                      </a:r>
                    </a:p>
                    <a:p>
                      <a:pPr algn="ctr"/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139353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943154" y="674680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1009575" y="160152"/>
            <a:ext cx="1416208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6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 ЗНАЧЕНИЯ ПОКАЗАТЕЛЕЙ НА 01.10.2021</a:t>
            </a:r>
            <a:endParaRPr lang="ru-RU" sz="36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380" y="64442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10155382"/>
            <a:ext cx="15120000" cy="523472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769808" y="10155382"/>
            <a:ext cx="3401854" cy="569240"/>
          </a:xfrm>
        </p:spPr>
        <p:txBody>
          <a:bodyPr/>
          <a:lstStyle/>
          <a:p>
            <a:pPr algn="r"/>
            <a:fld id="{438F3C6B-AB20-F24E-B142-B6CD49824CEA}" type="slidenum">
              <a:rPr lang="ru-RU" smtClean="0">
                <a:solidFill>
                  <a:schemeClr val="bg1"/>
                </a:solidFill>
              </a:rPr>
              <a:pPr algn="r"/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731200" y="4773046"/>
            <a:ext cx="72208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7 рабочих дней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906371" y="8182235"/>
            <a:ext cx="722082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algn="ctr"/>
            <a:r>
              <a:rPr lang="ru-RU" sz="4000" b="1" dirty="0" smtClean="0">
                <a:solidFill>
                  <a:srgbClr val="34A2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1%</a:t>
            </a:r>
          </a:p>
        </p:txBody>
      </p:sp>
    </p:spTree>
    <p:extLst>
      <p:ext uri="{BB962C8B-B14F-4D97-AF65-F5344CB8AC3E}">
        <p14:creationId xmlns:p14="http://schemas.microsoft.com/office/powerpoint/2010/main" val="256521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0865553"/>
              </p:ext>
            </p:extLst>
          </p:nvPr>
        </p:nvGraphicFramePr>
        <p:xfrm>
          <a:off x="0" y="1296711"/>
          <a:ext cx="15119348" cy="9193330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811962"/>
                <a:gridCol w="2513980"/>
                <a:gridCol w="2372516"/>
                <a:gridCol w="1077133"/>
                <a:gridCol w="1182625"/>
                <a:gridCol w="1547064"/>
                <a:gridCol w="1472686"/>
                <a:gridCol w="1309054"/>
                <a:gridCol w="1416164"/>
                <a:gridCol w="1416164"/>
              </a:tblGrid>
              <a:tr h="746578">
                <a:tc rowSpan="3" grid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Фактор (этап) </a:t>
                      </a:r>
                    </a:p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еализации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2000" dirty="0">
                        <a:solidFill>
                          <a:srgbClr val="37373A"/>
                        </a:solidFill>
                        <a:effectLst/>
                      </a:endParaRPr>
                    </a:p>
                  </a:txBody>
                  <a:tcPr anchor="ctr"/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rgbClr val="37373A"/>
                          </a:solidFill>
                          <a:effectLst/>
                        </a:rPr>
                        <a:t>Показатели, характеризующие степень достижения результата</a:t>
                      </a:r>
                    </a:p>
                  </a:txBody>
                  <a:tcPr anchor="ctr"/>
                </a:tc>
                <a:tc gridSpan="7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7373A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Целевое значение показателей</a:t>
                      </a: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24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7373A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790904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1 января </a:t>
                      </a:r>
                    </a:p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37373A"/>
                          </a:solidFill>
                          <a:effectLst/>
                        </a:rPr>
                        <a:t>2022 г.</a:t>
                      </a:r>
                      <a:endParaRPr lang="ru-RU" sz="2000" dirty="0" smtClean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1 января 2023 г.</a:t>
                      </a: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4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37373A"/>
                          </a:solidFill>
                          <a:effectLst/>
                        </a:rPr>
                        <a:t>1 января 2025 г.</a:t>
                      </a:r>
                      <a:endParaRPr lang="ru-RU" sz="2000" dirty="0">
                        <a:solidFill>
                          <a:srgbClr val="37373A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37373A"/>
                          </a:solidFill>
                        </a:rPr>
                        <a:t>куратор</a:t>
                      </a:r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езультат</a:t>
                      </a:r>
                    </a:p>
                    <a:p>
                      <a:pPr algn="ctr"/>
                      <a:endParaRPr lang="ru-RU" sz="2000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</a:tr>
              <a:tr h="570964"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Р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37373A"/>
                          </a:solidFill>
                        </a:rPr>
                        <a:t>ФЦМ</a:t>
                      </a:r>
                      <a:endParaRPr lang="ru-RU" dirty="0">
                        <a:solidFill>
                          <a:srgbClr val="37373A"/>
                        </a:solidFill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721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8.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Учет в Едином государственном реестре недвижимости земельных участков с границами, установленными в соответствии с законодательством Российской Федерации</a:t>
                      </a:r>
                      <a:endParaRPr lang="ru-RU" sz="14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8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количества земельных участков, учтенных в Едином государственном реестре недвижимости, с границами, установленными в соответствии с требованиями законодательства Российской Федерации, в общем количестве земельных участков, учтенных в Едином государственном реестре недвижимости, </a:t>
                      </a:r>
                      <a:r>
                        <a:rPr lang="ru-RU" sz="14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процентов</a:t>
                      </a:r>
                      <a:endParaRPr lang="ru-RU" sz="14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marL="0" marR="0" indent="0" algn="ctr" defTabSz="139564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75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68,4</a:t>
                      </a:r>
                      <a:endParaRPr lang="ru-RU" sz="2750" dirty="0" smtClean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750" dirty="0">
                        <a:effectLst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68,4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72,6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76,8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75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80</a:t>
                      </a:r>
                      <a:endParaRPr lang="ru-RU" sz="275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УГИ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rgbClr val="FF0000"/>
                          </a:solidFill>
                        </a:rPr>
                        <a:t>Не выполнено</a:t>
                      </a:r>
                    </a:p>
                    <a:p>
                      <a:pPr algn="l"/>
                      <a:endParaRPr lang="ru-RU" sz="1800" dirty="0" smtClean="0">
                        <a:solidFill>
                          <a:srgbClr val="FF0000"/>
                        </a:solidFill>
                      </a:endParaRPr>
                    </a:p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</a:rPr>
                        <a:t>(учтено </a:t>
                      </a:r>
                    </a:p>
                    <a:p>
                      <a:pPr algn="l"/>
                      <a:r>
                        <a:rPr lang="ru-RU" sz="1800" b="1" dirty="0" smtClean="0">
                          <a:solidFill>
                            <a:schemeClr val="accent1"/>
                          </a:solidFill>
                        </a:rPr>
                        <a:t>941 766 из 1 379 134)</a:t>
                      </a:r>
                      <a:endParaRPr lang="ru-RU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</a:tr>
              <a:tr h="30908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9.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Выявление правообладателей ранее учтенных объектов недвижимости</a:t>
                      </a: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1.9.1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доля количества ранее учтенных объектов недвижимости, права на которые не зарегистрированы, в общем количестве ранее учтенных объектов недвижимости, сведения о которых содержатся в Едином государственном реестре недвижимости, процентов &lt;2</a:t>
                      </a:r>
                      <a:r>
                        <a:rPr lang="ru-RU" sz="13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&gt;</a:t>
                      </a:r>
                      <a:endParaRPr lang="ru-RU" sz="13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36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-</a:t>
                      </a:r>
                      <a:endParaRPr lang="ru-RU" sz="3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36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-</a:t>
                      </a:r>
                      <a:endParaRPr lang="ru-RU" sz="3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3600" dirty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-</a:t>
                      </a:r>
                      <a:endParaRPr lang="ru-RU" sz="3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3600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</a:rPr>
                        <a:t>-</a:t>
                      </a:r>
                      <a:endParaRPr lang="ru-RU" sz="3600" dirty="0"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70" marR="39370" marT="64770" marB="6477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75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КУГИ</a:t>
                      </a:r>
                      <a:endParaRPr lang="ru-RU" sz="275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solidFill>
                            <a:schemeClr val="tx2"/>
                          </a:solidFill>
                        </a:rPr>
                        <a:t>Нет данных</a:t>
                      </a:r>
                      <a:endParaRPr lang="ru-RU" sz="1800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009575" y="-23884"/>
            <a:ext cx="13873966" cy="20379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6FC52E-558B-BA4B-A7FD-345FAD028AC0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3" y="995312"/>
            <a:ext cx="14006808" cy="161699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DC930D6B-CE7F-2C48-8E01-D68B3C93386C}"/>
              </a:ext>
            </a:extLst>
          </p:cNvPr>
          <p:cNvSpPr txBox="1">
            <a:spLocks/>
          </p:cNvSpPr>
          <p:nvPr/>
        </p:nvSpPr>
        <p:spPr>
          <a:xfrm>
            <a:off x="957262" y="470663"/>
            <a:ext cx="14162087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311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defTabSz="1478192"/>
            <a:r>
              <a:rPr lang="ru-RU" sz="36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ТЕКУЩИЕ</a:t>
            </a:r>
            <a:r>
              <a:rPr lang="ru-RU" sz="3800" kern="0" dirty="0" smtClean="0">
                <a:solidFill>
                  <a:schemeClr val="bg2">
                    <a:lumMod val="10000"/>
                  </a:schemeClr>
                </a:solidFill>
                <a:latin typeface="Arial Black" panose="020B0604020202020204" pitchFamily="34" charset="0"/>
                <a:ea typeface="Segoe UI Black" panose="020B0A02040204020203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 ЗНАЧЕНИЯ ПОКАЗАТЕЛЕЙ НА 01.10.2021</a:t>
            </a:r>
            <a:endParaRPr lang="ru-RU" sz="3800" kern="0" dirty="0">
              <a:solidFill>
                <a:schemeClr val="bg2">
                  <a:lumMod val="10000"/>
                </a:schemeClr>
              </a:solidFill>
              <a:latin typeface="Arial Black" panose="020B0604020202020204" pitchFamily="34" charset="0"/>
              <a:ea typeface="Segoe UI Black" panose="020B0A02040204020203" pitchFamily="34" charset="0"/>
              <a:cs typeface="Arial Black" panose="020B0604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86FCF5C-84DE-B047-92E8-B5DB5C8306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170" y="268704"/>
            <a:ext cx="584563" cy="88830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B830F749-052A-A34F-B727-3EB78A5979D2}"/>
              </a:ext>
            </a:extLst>
          </p:cNvPr>
          <p:cNvPicPr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342"/>
          <a:stretch/>
        </p:blipFill>
        <p:spPr>
          <a:xfrm>
            <a:off x="0" y="10166556"/>
            <a:ext cx="15120000" cy="51229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717494" y="10138085"/>
            <a:ext cx="3401854" cy="569240"/>
          </a:xfrm>
        </p:spPr>
        <p:txBody>
          <a:bodyPr/>
          <a:lstStyle/>
          <a:p>
            <a:pPr algn="r"/>
            <a:r>
              <a:rPr lang="ru-RU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339430" y="4828641"/>
            <a:ext cx="606994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rgbClr val="0077B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Текущее значение </a:t>
            </a:r>
          </a:p>
          <a:p>
            <a:pPr marL="571500" indent="-571500" algn="ctr">
              <a:buFont typeface="Wingdings" panose="05000000000000000000" pitchFamily="2" charset="2"/>
              <a:buChar char="q"/>
            </a:pPr>
            <a:r>
              <a:rPr lang="ru-RU" sz="4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68,29% </a:t>
            </a:r>
            <a:endParaRPr lang="ru-RU" sz="4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598497" y="8268300"/>
            <a:ext cx="60699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Black" panose="020B0A02040204020203" pitchFamily="34" charset="0"/>
                <a:ea typeface="Segoe UI Black" panose="020B0A02040204020203" pitchFamily="34" charset="0"/>
              </a:rPr>
              <a:t>Нет данных*</a:t>
            </a:r>
            <a:endParaRPr lang="ru-RU" sz="36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598497" y="9112456"/>
            <a:ext cx="6132438" cy="9144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r>
              <a:rPr lang="ru-RU" dirty="0" smtClean="0">
                <a:solidFill>
                  <a:srgbClr val="FF0000"/>
                </a:solidFill>
              </a:rPr>
              <a:t>*</a:t>
            </a:r>
            <a:r>
              <a:rPr lang="ru-RU" sz="2400" dirty="0" smtClean="0">
                <a:solidFill>
                  <a:schemeClr val="tx1">
                    <a:lumMod val="50000"/>
                  </a:schemeClr>
                </a:solidFill>
              </a:rPr>
              <a:t>Методика расчета находится </a:t>
            </a:r>
          </a:p>
          <a:p>
            <a:pPr algn="ctr"/>
            <a:r>
              <a:rPr lang="ru-RU" sz="2400" dirty="0" smtClean="0">
                <a:solidFill>
                  <a:schemeClr val="tx1">
                    <a:lumMod val="50000"/>
                  </a:schemeClr>
                </a:solidFill>
              </a:rPr>
              <a:t>в стадии разработки</a:t>
            </a:r>
          </a:p>
        </p:txBody>
      </p:sp>
    </p:spTree>
    <p:extLst>
      <p:ext uri="{BB962C8B-B14F-4D97-AF65-F5344CB8AC3E}">
        <p14:creationId xmlns:p14="http://schemas.microsoft.com/office/powerpoint/2010/main" val="3193267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AGENDAWIZARD" val="&lt;ee4p&gt;&lt;layouts&gt;&lt;layout name=&quot;Section Header&quot; id=&quot;227_2-1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0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80.9765&quot; top=&quot;121.2435&quot; width=&quot;349.4645&quot; height=&quot;340.5527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size=&quot;2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0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0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0&quot; /&gt;&lt;/element&gt;&lt;element field=&quot;pageno&quot; type=&quot;autoshape&quot; autoShapeType=&quot;1&quot;&gt;&lt;paragraphformat alignment=&quot;3&quot; /&gt;&lt;font size=&quot;20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size=&quot;1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4&quot; /&gt;&lt;/element&gt;&lt;element field=&quot;pageno&quot; type=&quot;autoshape&quot; autoShapeType=&quot;1&quot;&gt;&lt;paragraphformat alignment=&quot;3&quot; /&gt;&lt;font size=&quot;14&quot; /&gt;&lt;/element&gt;&lt;/case&gt;&lt;/cases&gt;&lt;elements&gt;&lt;element type=&quot;autoshape&quot; autoShapeType=&quot;1&quot; value=&quot;%agendaTitle%&quot; slideType=&quot;1&quot;&gt;&lt;position left=&quot;-331.37023&quot; top=&quot;-49.243548&quot; width=&quot;272.965&quot; height=&quot;275.1478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28.34645714&quot; marginBottom=&quot;0&quot; /&gt;&lt;paragraphformat alignment=&quot;2&quot; lineRuleBefore=&quot;0&quot; lineRuleWithin=&quot;1&quot; lineRuleAfter=&quot;0&quot; spaceBefore=&quot;0&quot; spaceWithin=&quot;0.95&quot; spaceAfter=&quot;0&quot; /&gt;&lt;font name=&quot;Trebuchet MS&quot; size=&quot;4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61.86978&quot; top=&quot;237.242914&quot; width=&quot;103.4646&quot; height=&quot;103.36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Trebuchet MS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41.7539&quot; top=&quot;237.242914&quot; width=&quot;68.59843&quot; height=&quot;68.69473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311.2441416&quot; top=&quot;-6.4559054&quot; width=&quot;72.21693&quot; height=&quot;72.28346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311.2441416&quot; top=&quot;88.8384305&quot; width=&quot;640.5827&quot; height=&quot;252.049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Trebuchet MS&quot; size=&quot;4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0&quot; fontSizeAuto=&quot;1&quot; startTime=&quot;540&quot; timeFormatId=&quot;1&quot; startItemNo=&quot;1&quot; createSingleAgendaSlide=&quot;1&quot; createSeparatingSlides=&quot;1&quot; createBackupSlide=&quot;1&quot; layoutId=&quot;227_2-1&quot; hideSeparatingSlides=&quot;0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MASTERWIZARD_MARGINS" val="0"/>
  <p:tag name="EE4P_STYLE_NAME" val="Rosreestr Client A4"/>
  <p:tag name="THINKCELLPRESENTATIONDONOTDELETE" val="&lt;?xml version=&quot;1.0&quot; encoding=&quot;UTF-16&quot; standalone=&quot;yes&quot;?&gt;&lt;root reqver=&quot;25060&quot;&gt;&lt;version val=&quot;283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KHGxD.yO5HdIRfGx6MD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KHGxD.yO5HdIRfGx6MD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A4.potx" id="{FD128D5F-54C9-4660-96FD-399E95DF928D}" vid="{7EF5A221-22E9-434F-9846-7D43FE1E807C}"/>
    </a:ext>
  </a:extLst>
</a:theme>
</file>

<file path=ppt/theme/theme2.xml><?xml version="1.0" encoding="utf-8"?>
<a:theme xmlns:a="http://schemas.openxmlformats.org/drawingml/2006/main" name="2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A4.potx" id="{FD128D5F-54C9-4660-96FD-399E95DF928D}" vid="{7EF5A221-22E9-434F-9846-7D43FE1E807C}"/>
    </a:ext>
  </a:extLst>
</a:theme>
</file>

<file path=ppt/theme/theme3.xml><?xml version="1.0" encoding="utf-8"?>
<a:theme xmlns:a="http://schemas.openxmlformats.org/drawingml/2006/main" name="4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A4.potx" id="{FD128D5F-54C9-4660-96FD-399E95DF928D}" vid="{7EF5A221-22E9-434F-9846-7D43FE1E807C}"/>
    </a:ext>
  </a:extLst>
</a:theme>
</file>

<file path=ppt/theme/theme4.xml><?xml version="1.0" encoding="utf-8"?>
<a:theme xmlns:a="http://schemas.openxmlformats.org/drawingml/2006/main" name="3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A4.potx" id="{FD128D5F-54C9-4660-96FD-399E95DF928D}" vid="{7EF5A221-22E9-434F-9846-7D43FE1E807C}"/>
    </a:ext>
  </a:extLst>
</a:theme>
</file>

<file path=ppt/theme/theme5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089</TotalTime>
  <Words>3651</Words>
  <Application>Microsoft Office PowerPoint</Application>
  <PresentationFormat>Произвольный</PresentationFormat>
  <Paragraphs>1058</Paragraphs>
  <Slides>21</Slides>
  <Notes>12</Notes>
  <HiddenSlides>0</HiddenSlides>
  <MMClips>0</MMClips>
  <ScaleCrop>false</ScaleCrop>
  <HeadingPairs>
    <vt:vector size="8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  <vt:variant>
        <vt:lpstr>Произвольные показы</vt:lpstr>
      </vt:variant>
      <vt:variant>
        <vt:i4>1</vt:i4>
      </vt:variant>
    </vt:vector>
  </HeadingPairs>
  <TitlesOfParts>
    <vt:vector size="27" baseType="lpstr">
      <vt:lpstr>1_RosreestrClient A4 - 12958</vt:lpstr>
      <vt:lpstr>2_RosreestrClient A4 - 12958</vt:lpstr>
      <vt:lpstr>4_RosreestrClient A4 - 12958</vt:lpstr>
      <vt:lpstr>3_RosreestrClient A4 - 12958</vt:lpstr>
      <vt:lpstr>think-cell Slide</vt:lpstr>
      <vt:lpstr>Текущие результаты достижения субъектом показателей целевой модели «Подготовка документов и осуществление государственного кадастрового учета и (или) государственной регистрации прав собственности на объекты недвижимого имущества»  за 9 месяцев 2021 год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Эл.ИПОТЕКА (к показателю 2.4.4 </vt:lpstr>
      <vt:lpstr> Результаты анкетирования МФЦ за октябрь (к показателю 2.4.5) </vt:lpstr>
      <vt:lpstr>Результаты анкетирования МФЦ за октябрь</vt:lpstr>
      <vt:lpstr>Презентация PowerPoint</vt:lpstr>
      <vt:lpstr>Презентация PowerPoint</vt:lpstr>
      <vt:lpstr>Презентация PowerPoint</vt:lpstr>
      <vt:lpstr>Презентация PowerPoint</vt:lpstr>
      <vt:lpstr>Format Guide Workshop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Мартынова Елена Валерьевна</dc:creator>
  <cp:lastModifiedBy>Николай Николаевич Андреев</cp:lastModifiedBy>
  <cp:revision>2394</cp:revision>
  <cp:lastPrinted>2021-11-16T08:53:54Z</cp:lastPrinted>
  <dcterms:created xsi:type="dcterms:W3CDTF">2021-01-08T12:16:28Z</dcterms:created>
  <dcterms:modified xsi:type="dcterms:W3CDTF">2021-11-16T11:3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915661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8.0.11</vt:lpwstr>
  </property>
  <property fmtid="{D5CDD505-2E9C-101B-9397-08002B2CF9AE}" pid="6" name="Template Name">
    <vt:lpwstr>16x9</vt:lpwstr>
  </property>
</Properties>
</file>